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slides/slide241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068.xml" ContentType="application/vnd.openxmlformats-officedocument.presentationml.tags+xml"/>
  <Override PartName="/ppt/notesSlides/notesSlide241.xml" ContentType="application/vnd.openxmlformats-officedocument.presentationml.notesSlid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035" r:id="rId244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489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192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slide" Target="/ppt/slides/slide241.xml" Id="rId24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45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41.xml.rels>&#65279;<?xml version="1.0" encoding="utf-8"?><Relationships xmlns="http://schemas.openxmlformats.org/package/2006/relationships"><Relationship Type="http://schemas.openxmlformats.org/officeDocument/2006/relationships/slide" Target="/ppt/slides/slide241.xml" Id="rId2" /><Relationship Type="http://schemas.openxmlformats.org/officeDocument/2006/relationships/notesMaster" Target="/ppt/notesMasters/notesMaster1.xml" Id="rId1" /></Relationships>
</file>

<file path=ppt/notesSlides/notesSlide2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C3999D-7F1C-5DAA-4A74-231B27DB03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544C911-9D5C-7799-2A66-5DCAA13959C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B50DC21-6272-04C8-407E-D373B316F0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89851C-B111-487C-A544-E4ACBBFECFC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4137163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36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88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41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068.xml" Id="rId2" /><Relationship Type="http://schemas.openxmlformats.org/officeDocument/2006/relationships/vmlDrawing" Target="/ppt/drawings/vmlDrawing245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245.bin" Id="rId5" /><Relationship Type="http://schemas.openxmlformats.org/officeDocument/2006/relationships/notesSlide" Target="/ppt/notesSlides/notesSlide241.xml" Id="rId4" /></Relationships>
</file>

<file path=ppt/slides/slide24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0CB376E1-CF32-63B2-C449-251E919828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E6FC581D-2417-A490-63A4-18384E720F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5169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48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6FC581D-2417-A490-63A4-18384E720F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7937D32A-3B0D-3AD9-4FF3-5CD1009BA1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88E64622-3E3C-C97C-8F49-73F026605B77}"/>
              </a:ext>
            </a:extLst>
          </p:cNvPr>
          <p:cNvGrpSpPr>
            <a:grpSpLocks/>
          </p:cNvGrpSpPr>
          <p:nvPr/>
        </p:nvGrpSpPr>
        <p:grpSpPr>
          <a:xfrm>
            <a:off x="-61913" y="1550196"/>
            <a:ext cx="11882438" cy="4976234"/>
            <a:chOff x="-61913" y="1550196"/>
            <a:chExt cx="11882438" cy="4976234"/>
          </a:xfrm>
        </p:grpSpPr>
        <p:grpSp>
          <p:nvGrpSpPr>
            <p:cNvPr id="37" name="Gruppieren 36">
              <a:extLst>
                <a:ext uri="{FF2B5EF4-FFF2-40B4-BE49-F238E27FC236}">
                  <a16:creationId xmlns:a16="http://schemas.microsoft.com/office/drawing/2014/main" id="{7A40A91B-85FA-C57C-2881-B3606A8A316E}"/>
                </a:ext>
              </a:extLst>
            </p:cNvPr>
            <p:cNvGrpSpPr>
              <a:grpSpLocks/>
            </p:cNvGrpSpPr>
            <p:nvPr/>
          </p:nvGrpSpPr>
          <p:grpSpPr>
            <a:xfrm>
              <a:off x="1586" y="1550196"/>
              <a:ext cx="11818939" cy="4976234"/>
              <a:chOff x="1586" y="1550196"/>
              <a:chExt cx="11818939" cy="4976234"/>
            </a:xfrm>
          </p:grpSpPr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CE2A39AE-0EA6-7011-6D8F-E63F377814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7" y="1550196"/>
                <a:ext cx="11818938" cy="4976233"/>
              </a:xfrm>
              <a:custGeom>
                <a:avLst/>
                <a:gdLst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31" fmla="*/ 4293290 w 11804048"/>
                  <a:gd name="connsiteY31" fmla="*/ 475583 h 4989102"/>
                  <a:gd name="connsiteX32" fmla="*/ 2483701 w 11804048"/>
                  <a:gd name="connsiteY32" fmla="*/ 360056 h 4989102"/>
                  <a:gd name="connsiteX33" fmla="*/ 2470484 w 11804048"/>
                  <a:gd name="connsiteY33" fmla="*/ 359542 h 4989102"/>
                  <a:gd name="connsiteX34" fmla="*/ 2470484 w 11804048"/>
                  <a:gd name="connsiteY34" fmla="*/ 360362 h 4989102"/>
                  <a:gd name="connsiteX35" fmla="*/ 0 w 11804048"/>
                  <a:gd name="connsiteY35" fmla="*/ 360362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31" fmla="*/ 4293290 w 11804048"/>
                  <a:gd name="connsiteY31" fmla="*/ 475583 h 4989102"/>
                  <a:gd name="connsiteX32" fmla="*/ 2483701 w 11804048"/>
                  <a:gd name="connsiteY32" fmla="*/ 360056 h 4989102"/>
                  <a:gd name="connsiteX33" fmla="*/ 2470484 w 11804048"/>
                  <a:gd name="connsiteY33" fmla="*/ 359542 h 4989102"/>
                  <a:gd name="connsiteX34" fmla="*/ 0 w 11804048"/>
                  <a:gd name="connsiteY34" fmla="*/ 360362 h 4989102"/>
                  <a:gd name="connsiteX35" fmla="*/ 0 w 11804048"/>
                  <a:gd name="connsiteY35" fmla="*/ 0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31" fmla="*/ 4293290 w 11804048"/>
                  <a:gd name="connsiteY31" fmla="*/ 475583 h 4989102"/>
                  <a:gd name="connsiteX32" fmla="*/ 2483701 w 11804048"/>
                  <a:gd name="connsiteY32" fmla="*/ 360056 h 4989102"/>
                  <a:gd name="connsiteX33" fmla="*/ 0 w 11804048"/>
                  <a:gd name="connsiteY33" fmla="*/ 360362 h 4989102"/>
                  <a:gd name="connsiteX34" fmla="*/ 0 w 11804048"/>
                  <a:gd name="connsiteY34" fmla="*/ 0 h 4989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1804048" h="4989102">
                    <a:moveTo>
                      <a:pt x="0" y="0"/>
                    </a:moveTo>
                    <a:lnTo>
                      <a:pt x="2470484" y="0"/>
                    </a:lnTo>
                    <a:lnTo>
                      <a:pt x="2931171" y="4048"/>
                    </a:lnTo>
                    <a:cubicBezTo>
                      <a:pt x="4085463" y="24074"/>
                      <a:pt x="5274428" y="112739"/>
                      <a:pt x="6192260" y="249741"/>
                    </a:cubicBezTo>
                    <a:cubicBezTo>
                      <a:pt x="6778962" y="337047"/>
                      <a:pt x="7240249" y="440949"/>
                      <a:pt x="7564593" y="558199"/>
                    </a:cubicBezTo>
                    <a:cubicBezTo>
                      <a:pt x="7927857" y="689519"/>
                      <a:pt x="8111411" y="835991"/>
                      <a:pt x="8111411" y="994008"/>
                    </a:cubicBezTo>
                    <a:cubicBezTo>
                      <a:pt x="8111411" y="1061833"/>
                      <a:pt x="8073451" y="1124968"/>
                      <a:pt x="7998011" y="1181248"/>
                    </a:cubicBezTo>
                    <a:cubicBezTo>
                      <a:pt x="7931221" y="1231395"/>
                      <a:pt x="7835119" y="1277573"/>
                      <a:pt x="7704421" y="1321947"/>
                    </a:cubicBezTo>
                    <a:cubicBezTo>
                      <a:pt x="7463686" y="1403482"/>
                      <a:pt x="7135499" y="1468059"/>
                      <a:pt x="6816921" y="1530472"/>
                    </a:cubicBezTo>
                    <a:cubicBezTo>
                      <a:pt x="6144209" y="1662875"/>
                      <a:pt x="5448433" y="1798885"/>
                      <a:pt x="5448433" y="2106982"/>
                    </a:cubicBezTo>
                    <a:cubicBezTo>
                      <a:pt x="5448433" y="2175889"/>
                      <a:pt x="5621416" y="2250929"/>
                      <a:pt x="5977954" y="2336792"/>
                    </a:cubicBezTo>
                    <a:cubicBezTo>
                      <a:pt x="6310946" y="2416522"/>
                      <a:pt x="6763105" y="2498056"/>
                      <a:pt x="7286859" y="2591856"/>
                    </a:cubicBezTo>
                    <a:cubicBezTo>
                      <a:pt x="7980232" y="2715960"/>
                      <a:pt x="8765863" y="2857382"/>
                      <a:pt x="9458757" y="3031273"/>
                    </a:cubicBezTo>
                    <a:cubicBezTo>
                      <a:pt x="10260726" y="3233304"/>
                      <a:pt x="10787844" y="3442550"/>
                      <a:pt x="11069902" y="3671639"/>
                    </a:cubicBezTo>
                    <a:cubicBezTo>
                      <a:pt x="11283729" y="3845169"/>
                      <a:pt x="11453829" y="4028800"/>
                      <a:pt x="11575878" y="4217483"/>
                    </a:cubicBezTo>
                    <a:cubicBezTo>
                      <a:pt x="11673902" y="4368284"/>
                      <a:pt x="11741173" y="4523055"/>
                      <a:pt x="11776250" y="4677103"/>
                    </a:cubicBezTo>
                    <a:cubicBezTo>
                      <a:pt x="11798594" y="4775458"/>
                      <a:pt x="11804923" y="4860419"/>
                      <a:pt x="11803954" y="4928562"/>
                    </a:cubicBezTo>
                    <a:lnTo>
                      <a:pt x="11800968" y="4989102"/>
                    </a:lnTo>
                    <a:lnTo>
                      <a:pt x="9480312" y="4989102"/>
                    </a:lnTo>
                    <a:lnTo>
                      <a:pt x="9473653" y="4566347"/>
                    </a:lnTo>
                    <a:cubicBezTo>
                      <a:pt x="9439537" y="4394260"/>
                      <a:pt x="9367941" y="4238769"/>
                      <a:pt x="9259827" y="4105284"/>
                    </a:cubicBezTo>
                    <a:cubicBezTo>
                      <a:pt x="9124323" y="3938248"/>
                      <a:pt x="8931639" y="3804402"/>
                      <a:pt x="8687061" y="3706994"/>
                    </a:cubicBezTo>
                    <a:cubicBezTo>
                      <a:pt x="8322835" y="3562326"/>
                      <a:pt x="7595826" y="3424151"/>
                      <a:pt x="6827493" y="3277679"/>
                    </a:cubicBezTo>
                    <a:cubicBezTo>
                      <a:pt x="6075016" y="3134092"/>
                      <a:pt x="5222113" y="2971746"/>
                      <a:pt x="4576790" y="2777652"/>
                    </a:cubicBezTo>
                    <a:cubicBezTo>
                      <a:pt x="4225538" y="2671946"/>
                      <a:pt x="3966064" y="2566963"/>
                      <a:pt x="3783470" y="2456567"/>
                    </a:cubicBezTo>
                    <a:cubicBezTo>
                      <a:pt x="3576371" y="2331381"/>
                      <a:pt x="3471621" y="2197896"/>
                      <a:pt x="3471621" y="2060443"/>
                    </a:cubicBezTo>
                    <a:cubicBezTo>
                      <a:pt x="3471621" y="1829550"/>
                      <a:pt x="3657577" y="1647001"/>
                      <a:pt x="4040063" y="1501972"/>
                    </a:cubicBezTo>
                    <a:cubicBezTo>
                      <a:pt x="4369210" y="1377145"/>
                      <a:pt x="4796863" y="1298137"/>
                      <a:pt x="5174543" y="1228508"/>
                    </a:cubicBezTo>
                    <a:cubicBezTo>
                      <a:pt x="5690129" y="1133265"/>
                      <a:pt x="6135560" y="1051010"/>
                      <a:pt x="6135560" y="891189"/>
                    </a:cubicBezTo>
                    <a:cubicBezTo>
                      <a:pt x="6135560" y="846093"/>
                      <a:pt x="6084146" y="801718"/>
                      <a:pt x="5983239" y="758787"/>
                    </a:cubicBezTo>
                    <a:cubicBezTo>
                      <a:pt x="5888099" y="718741"/>
                      <a:pt x="5747790" y="679417"/>
                      <a:pt x="5566157" y="642619"/>
                    </a:cubicBezTo>
                    <a:cubicBezTo>
                      <a:pt x="5259112" y="580927"/>
                      <a:pt x="4830979" y="524287"/>
                      <a:pt x="4293290" y="475583"/>
                    </a:cubicBezTo>
                    <a:cubicBezTo>
                      <a:pt x="3491081" y="402662"/>
                      <a:pt x="2680043" y="367859"/>
                      <a:pt x="2483701" y="360056"/>
                    </a:cubicBezTo>
                    <a:lnTo>
                      <a:pt x="0" y="36036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6350"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B1657A16-F32F-A63F-2957-1E28C3C22E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7" y="1550196"/>
                <a:ext cx="11818938" cy="4976233"/>
              </a:xfrm>
              <a:custGeom>
                <a:avLst/>
                <a:gdLst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31" fmla="*/ 4293290 w 11804048"/>
                  <a:gd name="connsiteY31" fmla="*/ 475583 h 4989102"/>
                  <a:gd name="connsiteX32" fmla="*/ 2483701 w 11804048"/>
                  <a:gd name="connsiteY32" fmla="*/ 360056 h 4989102"/>
                  <a:gd name="connsiteX33" fmla="*/ 2470484 w 11804048"/>
                  <a:gd name="connsiteY33" fmla="*/ 359542 h 4989102"/>
                  <a:gd name="connsiteX34" fmla="*/ 2470484 w 11804048"/>
                  <a:gd name="connsiteY34" fmla="*/ 360362 h 4989102"/>
                  <a:gd name="connsiteX35" fmla="*/ 0 w 11804048"/>
                  <a:gd name="connsiteY35" fmla="*/ 360362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31" fmla="*/ 4293290 w 11804048"/>
                  <a:gd name="connsiteY31" fmla="*/ 475583 h 4989102"/>
                  <a:gd name="connsiteX32" fmla="*/ 2483701 w 11804048"/>
                  <a:gd name="connsiteY32" fmla="*/ 360056 h 4989102"/>
                  <a:gd name="connsiteX33" fmla="*/ 2470484 w 11804048"/>
                  <a:gd name="connsiteY33" fmla="*/ 359542 h 4989102"/>
                  <a:gd name="connsiteX34" fmla="*/ 0 w 11804048"/>
                  <a:gd name="connsiteY34" fmla="*/ 360362 h 4989102"/>
                  <a:gd name="connsiteX35" fmla="*/ 0 w 11804048"/>
                  <a:gd name="connsiteY35" fmla="*/ 0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31" fmla="*/ 4293290 w 11804048"/>
                  <a:gd name="connsiteY31" fmla="*/ 475583 h 4989102"/>
                  <a:gd name="connsiteX32" fmla="*/ 2483701 w 11804048"/>
                  <a:gd name="connsiteY32" fmla="*/ 360056 h 4989102"/>
                  <a:gd name="connsiteX33" fmla="*/ 0 w 11804048"/>
                  <a:gd name="connsiteY33" fmla="*/ 360362 h 4989102"/>
                  <a:gd name="connsiteX34" fmla="*/ 0 w 11804048"/>
                  <a:gd name="connsiteY34" fmla="*/ 0 h 4989102"/>
                  <a:gd name="connsiteX0" fmla="*/ 0 w 11804048"/>
                  <a:gd name="connsiteY0" fmla="*/ 360362 h 4989102"/>
                  <a:gd name="connsiteX1" fmla="*/ 0 w 11804048"/>
                  <a:gd name="connsiteY1" fmla="*/ 0 h 4989102"/>
                  <a:gd name="connsiteX2" fmla="*/ 2470484 w 11804048"/>
                  <a:gd name="connsiteY2" fmla="*/ 0 h 4989102"/>
                  <a:gd name="connsiteX3" fmla="*/ 2931171 w 11804048"/>
                  <a:gd name="connsiteY3" fmla="*/ 4048 h 4989102"/>
                  <a:gd name="connsiteX4" fmla="*/ 6192260 w 11804048"/>
                  <a:gd name="connsiteY4" fmla="*/ 249741 h 4989102"/>
                  <a:gd name="connsiteX5" fmla="*/ 7564593 w 11804048"/>
                  <a:gd name="connsiteY5" fmla="*/ 558199 h 4989102"/>
                  <a:gd name="connsiteX6" fmla="*/ 8111411 w 11804048"/>
                  <a:gd name="connsiteY6" fmla="*/ 994008 h 4989102"/>
                  <a:gd name="connsiteX7" fmla="*/ 7998011 w 11804048"/>
                  <a:gd name="connsiteY7" fmla="*/ 1181248 h 4989102"/>
                  <a:gd name="connsiteX8" fmla="*/ 7704421 w 11804048"/>
                  <a:gd name="connsiteY8" fmla="*/ 1321947 h 4989102"/>
                  <a:gd name="connsiteX9" fmla="*/ 6816921 w 11804048"/>
                  <a:gd name="connsiteY9" fmla="*/ 1530472 h 4989102"/>
                  <a:gd name="connsiteX10" fmla="*/ 5448433 w 11804048"/>
                  <a:gd name="connsiteY10" fmla="*/ 2106982 h 4989102"/>
                  <a:gd name="connsiteX11" fmla="*/ 5977954 w 11804048"/>
                  <a:gd name="connsiteY11" fmla="*/ 2336792 h 4989102"/>
                  <a:gd name="connsiteX12" fmla="*/ 7286859 w 11804048"/>
                  <a:gd name="connsiteY12" fmla="*/ 2591856 h 4989102"/>
                  <a:gd name="connsiteX13" fmla="*/ 9458757 w 11804048"/>
                  <a:gd name="connsiteY13" fmla="*/ 3031273 h 4989102"/>
                  <a:gd name="connsiteX14" fmla="*/ 11069902 w 11804048"/>
                  <a:gd name="connsiteY14" fmla="*/ 3671639 h 4989102"/>
                  <a:gd name="connsiteX15" fmla="*/ 11575878 w 11804048"/>
                  <a:gd name="connsiteY15" fmla="*/ 4217483 h 4989102"/>
                  <a:gd name="connsiteX16" fmla="*/ 11776250 w 11804048"/>
                  <a:gd name="connsiteY16" fmla="*/ 4677103 h 4989102"/>
                  <a:gd name="connsiteX17" fmla="*/ 11803954 w 11804048"/>
                  <a:gd name="connsiteY17" fmla="*/ 4928562 h 4989102"/>
                  <a:gd name="connsiteX18" fmla="*/ 11800968 w 11804048"/>
                  <a:gd name="connsiteY18" fmla="*/ 4989102 h 4989102"/>
                  <a:gd name="connsiteX19" fmla="*/ 9480312 w 11804048"/>
                  <a:gd name="connsiteY19" fmla="*/ 4989102 h 4989102"/>
                  <a:gd name="connsiteX20" fmla="*/ 9473653 w 11804048"/>
                  <a:gd name="connsiteY20" fmla="*/ 4566347 h 4989102"/>
                  <a:gd name="connsiteX21" fmla="*/ 9259827 w 11804048"/>
                  <a:gd name="connsiteY21" fmla="*/ 4105284 h 4989102"/>
                  <a:gd name="connsiteX22" fmla="*/ 8687061 w 11804048"/>
                  <a:gd name="connsiteY22" fmla="*/ 3706994 h 4989102"/>
                  <a:gd name="connsiteX23" fmla="*/ 6827493 w 11804048"/>
                  <a:gd name="connsiteY23" fmla="*/ 3277679 h 4989102"/>
                  <a:gd name="connsiteX24" fmla="*/ 4576790 w 11804048"/>
                  <a:gd name="connsiteY24" fmla="*/ 2777652 h 4989102"/>
                  <a:gd name="connsiteX25" fmla="*/ 3783470 w 11804048"/>
                  <a:gd name="connsiteY25" fmla="*/ 2456567 h 4989102"/>
                  <a:gd name="connsiteX26" fmla="*/ 3471621 w 11804048"/>
                  <a:gd name="connsiteY26" fmla="*/ 2060443 h 4989102"/>
                  <a:gd name="connsiteX27" fmla="*/ 4040063 w 11804048"/>
                  <a:gd name="connsiteY27" fmla="*/ 1501972 h 4989102"/>
                  <a:gd name="connsiteX28" fmla="*/ 5174543 w 11804048"/>
                  <a:gd name="connsiteY28" fmla="*/ 1228508 h 4989102"/>
                  <a:gd name="connsiteX29" fmla="*/ 6135560 w 11804048"/>
                  <a:gd name="connsiteY29" fmla="*/ 891189 h 4989102"/>
                  <a:gd name="connsiteX30" fmla="*/ 5983239 w 11804048"/>
                  <a:gd name="connsiteY30" fmla="*/ 758787 h 4989102"/>
                  <a:gd name="connsiteX31" fmla="*/ 5566157 w 11804048"/>
                  <a:gd name="connsiteY31" fmla="*/ 642619 h 4989102"/>
                  <a:gd name="connsiteX32" fmla="*/ 4293290 w 11804048"/>
                  <a:gd name="connsiteY32" fmla="*/ 475583 h 4989102"/>
                  <a:gd name="connsiteX33" fmla="*/ 2483701 w 11804048"/>
                  <a:gd name="connsiteY33" fmla="*/ 360056 h 4989102"/>
                  <a:gd name="connsiteX34" fmla="*/ 91325 w 11804048"/>
                  <a:gd name="connsiteY34" fmla="*/ 452038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31" fmla="*/ 4293290 w 11804048"/>
                  <a:gd name="connsiteY31" fmla="*/ 475583 h 4989102"/>
                  <a:gd name="connsiteX32" fmla="*/ 2483701 w 11804048"/>
                  <a:gd name="connsiteY32" fmla="*/ 360056 h 4989102"/>
                  <a:gd name="connsiteX33" fmla="*/ 91325 w 11804048"/>
                  <a:gd name="connsiteY33" fmla="*/ 452038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31" fmla="*/ 4293290 w 11804048"/>
                  <a:gd name="connsiteY31" fmla="*/ 475583 h 4989102"/>
                  <a:gd name="connsiteX32" fmla="*/ 2483701 w 11804048"/>
                  <a:gd name="connsiteY32" fmla="*/ 360056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31" fmla="*/ 4293290 w 11804048"/>
                  <a:gd name="connsiteY31" fmla="*/ 475583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1804048" h="4989102">
                    <a:moveTo>
                      <a:pt x="0" y="0"/>
                    </a:moveTo>
                    <a:lnTo>
                      <a:pt x="2470484" y="0"/>
                    </a:lnTo>
                    <a:lnTo>
                      <a:pt x="2931171" y="4048"/>
                    </a:lnTo>
                    <a:cubicBezTo>
                      <a:pt x="4085463" y="24074"/>
                      <a:pt x="5274428" y="112739"/>
                      <a:pt x="6192260" y="249741"/>
                    </a:cubicBezTo>
                    <a:cubicBezTo>
                      <a:pt x="6778962" y="337047"/>
                      <a:pt x="7240249" y="440949"/>
                      <a:pt x="7564593" y="558199"/>
                    </a:cubicBezTo>
                    <a:cubicBezTo>
                      <a:pt x="7927857" y="689519"/>
                      <a:pt x="8111411" y="835991"/>
                      <a:pt x="8111411" y="994008"/>
                    </a:cubicBezTo>
                    <a:cubicBezTo>
                      <a:pt x="8111411" y="1061833"/>
                      <a:pt x="8073451" y="1124968"/>
                      <a:pt x="7998011" y="1181248"/>
                    </a:cubicBezTo>
                    <a:cubicBezTo>
                      <a:pt x="7931221" y="1231395"/>
                      <a:pt x="7835119" y="1277573"/>
                      <a:pt x="7704421" y="1321947"/>
                    </a:cubicBezTo>
                    <a:cubicBezTo>
                      <a:pt x="7463686" y="1403482"/>
                      <a:pt x="7135499" y="1468059"/>
                      <a:pt x="6816921" y="1530472"/>
                    </a:cubicBezTo>
                    <a:cubicBezTo>
                      <a:pt x="6144209" y="1662875"/>
                      <a:pt x="5448433" y="1798885"/>
                      <a:pt x="5448433" y="2106982"/>
                    </a:cubicBezTo>
                    <a:cubicBezTo>
                      <a:pt x="5448433" y="2175889"/>
                      <a:pt x="5621416" y="2250929"/>
                      <a:pt x="5977954" y="2336792"/>
                    </a:cubicBezTo>
                    <a:cubicBezTo>
                      <a:pt x="6310946" y="2416522"/>
                      <a:pt x="6763105" y="2498056"/>
                      <a:pt x="7286859" y="2591856"/>
                    </a:cubicBezTo>
                    <a:cubicBezTo>
                      <a:pt x="7980232" y="2715960"/>
                      <a:pt x="8765863" y="2857382"/>
                      <a:pt x="9458757" y="3031273"/>
                    </a:cubicBezTo>
                    <a:cubicBezTo>
                      <a:pt x="10260726" y="3233304"/>
                      <a:pt x="10787844" y="3442550"/>
                      <a:pt x="11069902" y="3671639"/>
                    </a:cubicBezTo>
                    <a:cubicBezTo>
                      <a:pt x="11283729" y="3845169"/>
                      <a:pt x="11453829" y="4028800"/>
                      <a:pt x="11575878" y="4217483"/>
                    </a:cubicBezTo>
                    <a:cubicBezTo>
                      <a:pt x="11673902" y="4368284"/>
                      <a:pt x="11741173" y="4523055"/>
                      <a:pt x="11776250" y="4677103"/>
                    </a:cubicBezTo>
                    <a:cubicBezTo>
                      <a:pt x="11798594" y="4775458"/>
                      <a:pt x="11804923" y="4860419"/>
                      <a:pt x="11803954" y="4928562"/>
                    </a:cubicBezTo>
                    <a:lnTo>
                      <a:pt x="11800968" y="4989102"/>
                    </a:lnTo>
                  </a:path>
                </a:pathLst>
              </a:custGeom>
              <a:noFill/>
              <a:ln w="6350">
                <a:solidFill>
                  <a:schemeClr val="accent5"/>
                </a:solidFill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199E3CCC-FE20-A88E-B69F-BCC9BD727A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6" y="1909324"/>
                <a:ext cx="9492271" cy="4617106"/>
              </a:xfrm>
              <a:custGeom>
                <a:avLst/>
                <a:gdLst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31" fmla="*/ 4293290 w 11804048"/>
                  <a:gd name="connsiteY31" fmla="*/ 475583 h 4989102"/>
                  <a:gd name="connsiteX32" fmla="*/ 2483701 w 11804048"/>
                  <a:gd name="connsiteY32" fmla="*/ 360056 h 4989102"/>
                  <a:gd name="connsiteX33" fmla="*/ 2470484 w 11804048"/>
                  <a:gd name="connsiteY33" fmla="*/ 359542 h 4989102"/>
                  <a:gd name="connsiteX34" fmla="*/ 2470484 w 11804048"/>
                  <a:gd name="connsiteY34" fmla="*/ 360362 h 4989102"/>
                  <a:gd name="connsiteX35" fmla="*/ 0 w 11804048"/>
                  <a:gd name="connsiteY35" fmla="*/ 360362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31" fmla="*/ 4293290 w 11804048"/>
                  <a:gd name="connsiteY31" fmla="*/ 475583 h 4989102"/>
                  <a:gd name="connsiteX32" fmla="*/ 2483701 w 11804048"/>
                  <a:gd name="connsiteY32" fmla="*/ 360056 h 4989102"/>
                  <a:gd name="connsiteX33" fmla="*/ 2470484 w 11804048"/>
                  <a:gd name="connsiteY33" fmla="*/ 359542 h 4989102"/>
                  <a:gd name="connsiteX34" fmla="*/ 0 w 11804048"/>
                  <a:gd name="connsiteY34" fmla="*/ 360362 h 4989102"/>
                  <a:gd name="connsiteX35" fmla="*/ 0 w 11804048"/>
                  <a:gd name="connsiteY35" fmla="*/ 0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31" fmla="*/ 4293290 w 11804048"/>
                  <a:gd name="connsiteY31" fmla="*/ 475583 h 4989102"/>
                  <a:gd name="connsiteX32" fmla="*/ 2483701 w 11804048"/>
                  <a:gd name="connsiteY32" fmla="*/ 360056 h 4989102"/>
                  <a:gd name="connsiteX33" fmla="*/ 0 w 11804048"/>
                  <a:gd name="connsiteY33" fmla="*/ 360362 h 4989102"/>
                  <a:gd name="connsiteX34" fmla="*/ 0 w 11804048"/>
                  <a:gd name="connsiteY34" fmla="*/ 0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31" fmla="*/ 4293290 w 11804048"/>
                  <a:gd name="connsiteY31" fmla="*/ 475583 h 4989102"/>
                  <a:gd name="connsiteX32" fmla="*/ 2483701 w 11804048"/>
                  <a:gd name="connsiteY32" fmla="*/ 360056 h 4989102"/>
                  <a:gd name="connsiteX33" fmla="*/ 0 w 11804048"/>
                  <a:gd name="connsiteY33" fmla="*/ 360362 h 4989102"/>
                  <a:gd name="connsiteX34" fmla="*/ 91325 w 11804048"/>
                  <a:gd name="connsiteY34" fmla="*/ 91676 h 4989102"/>
                  <a:gd name="connsiteX0" fmla="*/ 0 w 11804048"/>
                  <a:gd name="connsiteY0" fmla="*/ 0 h 4989102"/>
                  <a:gd name="connsiteX1" fmla="*/ 2470484 w 11804048"/>
                  <a:gd name="connsiteY1" fmla="*/ 0 h 4989102"/>
                  <a:gd name="connsiteX2" fmla="*/ 2931171 w 11804048"/>
                  <a:gd name="connsiteY2" fmla="*/ 4048 h 4989102"/>
                  <a:gd name="connsiteX3" fmla="*/ 6192260 w 11804048"/>
                  <a:gd name="connsiteY3" fmla="*/ 249741 h 4989102"/>
                  <a:gd name="connsiteX4" fmla="*/ 7564593 w 11804048"/>
                  <a:gd name="connsiteY4" fmla="*/ 558199 h 4989102"/>
                  <a:gd name="connsiteX5" fmla="*/ 8111411 w 11804048"/>
                  <a:gd name="connsiteY5" fmla="*/ 994008 h 4989102"/>
                  <a:gd name="connsiteX6" fmla="*/ 7998011 w 11804048"/>
                  <a:gd name="connsiteY6" fmla="*/ 1181248 h 4989102"/>
                  <a:gd name="connsiteX7" fmla="*/ 7704421 w 11804048"/>
                  <a:gd name="connsiteY7" fmla="*/ 1321947 h 4989102"/>
                  <a:gd name="connsiteX8" fmla="*/ 6816921 w 11804048"/>
                  <a:gd name="connsiteY8" fmla="*/ 1530472 h 4989102"/>
                  <a:gd name="connsiteX9" fmla="*/ 5448433 w 11804048"/>
                  <a:gd name="connsiteY9" fmla="*/ 2106982 h 4989102"/>
                  <a:gd name="connsiteX10" fmla="*/ 5977954 w 11804048"/>
                  <a:gd name="connsiteY10" fmla="*/ 2336792 h 4989102"/>
                  <a:gd name="connsiteX11" fmla="*/ 7286859 w 11804048"/>
                  <a:gd name="connsiteY11" fmla="*/ 2591856 h 4989102"/>
                  <a:gd name="connsiteX12" fmla="*/ 9458757 w 11804048"/>
                  <a:gd name="connsiteY12" fmla="*/ 3031273 h 4989102"/>
                  <a:gd name="connsiteX13" fmla="*/ 11069902 w 11804048"/>
                  <a:gd name="connsiteY13" fmla="*/ 3671639 h 4989102"/>
                  <a:gd name="connsiteX14" fmla="*/ 11575878 w 11804048"/>
                  <a:gd name="connsiteY14" fmla="*/ 4217483 h 4989102"/>
                  <a:gd name="connsiteX15" fmla="*/ 11776250 w 11804048"/>
                  <a:gd name="connsiteY15" fmla="*/ 4677103 h 4989102"/>
                  <a:gd name="connsiteX16" fmla="*/ 11803954 w 11804048"/>
                  <a:gd name="connsiteY16" fmla="*/ 4928562 h 4989102"/>
                  <a:gd name="connsiteX17" fmla="*/ 11800968 w 11804048"/>
                  <a:gd name="connsiteY17" fmla="*/ 4989102 h 4989102"/>
                  <a:gd name="connsiteX18" fmla="*/ 9480312 w 11804048"/>
                  <a:gd name="connsiteY18" fmla="*/ 4989102 h 4989102"/>
                  <a:gd name="connsiteX19" fmla="*/ 9473653 w 11804048"/>
                  <a:gd name="connsiteY19" fmla="*/ 4566347 h 4989102"/>
                  <a:gd name="connsiteX20" fmla="*/ 9259827 w 11804048"/>
                  <a:gd name="connsiteY20" fmla="*/ 4105284 h 4989102"/>
                  <a:gd name="connsiteX21" fmla="*/ 8687061 w 11804048"/>
                  <a:gd name="connsiteY21" fmla="*/ 3706994 h 4989102"/>
                  <a:gd name="connsiteX22" fmla="*/ 6827493 w 11804048"/>
                  <a:gd name="connsiteY22" fmla="*/ 3277679 h 4989102"/>
                  <a:gd name="connsiteX23" fmla="*/ 4576790 w 11804048"/>
                  <a:gd name="connsiteY23" fmla="*/ 2777652 h 4989102"/>
                  <a:gd name="connsiteX24" fmla="*/ 3783470 w 11804048"/>
                  <a:gd name="connsiteY24" fmla="*/ 2456567 h 4989102"/>
                  <a:gd name="connsiteX25" fmla="*/ 3471621 w 11804048"/>
                  <a:gd name="connsiteY25" fmla="*/ 2060443 h 4989102"/>
                  <a:gd name="connsiteX26" fmla="*/ 4040063 w 11804048"/>
                  <a:gd name="connsiteY26" fmla="*/ 1501972 h 4989102"/>
                  <a:gd name="connsiteX27" fmla="*/ 5174543 w 11804048"/>
                  <a:gd name="connsiteY27" fmla="*/ 1228508 h 4989102"/>
                  <a:gd name="connsiteX28" fmla="*/ 6135560 w 11804048"/>
                  <a:gd name="connsiteY28" fmla="*/ 891189 h 4989102"/>
                  <a:gd name="connsiteX29" fmla="*/ 5983239 w 11804048"/>
                  <a:gd name="connsiteY29" fmla="*/ 758787 h 4989102"/>
                  <a:gd name="connsiteX30" fmla="*/ 5566157 w 11804048"/>
                  <a:gd name="connsiteY30" fmla="*/ 642619 h 4989102"/>
                  <a:gd name="connsiteX31" fmla="*/ 4293290 w 11804048"/>
                  <a:gd name="connsiteY31" fmla="*/ 475583 h 4989102"/>
                  <a:gd name="connsiteX32" fmla="*/ 2483701 w 11804048"/>
                  <a:gd name="connsiteY32" fmla="*/ 360056 h 4989102"/>
                  <a:gd name="connsiteX33" fmla="*/ 0 w 11804048"/>
                  <a:gd name="connsiteY33" fmla="*/ 360362 h 4989102"/>
                  <a:gd name="connsiteX0" fmla="*/ 2470484 w 11804048"/>
                  <a:gd name="connsiteY0" fmla="*/ 0 h 4989102"/>
                  <a:gd name="connsiteX1" fmla="*/ 2931171 w 11804048"/>
                  <a:gd name="connsiteY1" fmla="*/ 4048 h 4989102"/>
                  <a:gd name="connsiteX2" fmla="*/ 6192260 w 11804048"/>
                  <a:gd name="connsiteY2" fmla="*/ 249741 h 4989102"/>
                  <a:gd name="connsiteX3" fmla="*/ 7564593 w 11804048"/>
                  <a:gd name="connsiteY3" fmla="*/ 558199 h 4989102"/>
                  <a:gd name="connsiteX4" fmla="*/ 8111411 w 11804048"/>
                  <a:gd name="connsiteY4" fmla="*/ 994008 h 4989102"/>
                  <a:gd name="connsiteX5" fmla="*/ 7998011 w 11804048"/>
                  <a:gd name="connsiteY5" fmla="*/ 1181248 h 4989102"/>
                  <a:gd name="connsiteX6" fmla="*/ 7704421 w 11804048"/>
                  <a:gd name="connsiteY6" fmla="*/ 1321947 h 4989102"/>
                  <a:gd name="connsiteX7" fmla="*/ 6816921 w 11804048"/>
                  <a:gd name="connsiteY7" fmla="*/ 1530472 h 4989102"/>
                  <a:gd name="connsiteX8" fmla="*/ 5448433 w 11804048"/>
                  <a:gd name="connsiteY8" fmla="*/ 2106982 h 4989102"/>
                  <a:gd name="connsiteX9" fmla="*/ 5977954 w 11804048"/>
                  <a:gd name="connsiteY9" fmla="*/ 2336792 h 4989102"/>
                  <a:gd name="connsiteX10" fmla="*/ 7286859 w 11804048"/>
                  <a:gd name="connsiteY10" fmla="*/ 2591856 h 4989102"/>
                  <a:gd name="connsiteX11" fmla="*/ 9458757 w 11804048"/>
                  <a:gd name="connsiteY11" fmla="*/ 3031273 h 4989102"/>
                  <a:gd name="connsiteX12" fmla="*/ 11069902 w 11804048"/>
                  <a:gd name="connsiteY12" fmla="*/ 3671639 h 4989102"/>
                  <a:gd name="connsiteX13" fmla="*/ 11575878 w 11804048"/>
                  <a:gd name="connsiteY13" fmla="*/ 4217483 h 4989102"/>
                  <a:gd name="connsiteX14" fmla="*/ 11776250 w 11804048"/>
                  <a:gd name="connsiteY14" fmla="*/ 4677103 h 4989102"/>
                  <a:gd name="connsiteX15" fmla="*/ 11803954 w 11804048"/>
                  <a:gd name="connsiteY15" fmla="*/ 4928562 h 4989102"/>
                  <a:gd name="connsiteX16" fmla="*/ 11800968 w 11804048"/>
                  <a:gd name="connsiteY16" fmla="*/ 4989102 h 4989102"/>
                  <a:gd name="connsiteX17" fmla="*/ 9480312 w 11804048"/>
                  <a:gd name="connsiteY17" fmla="*/ 4989102 h 4989102"/>
                  <a:gd name="connsiteX18" fmla="*/ 9473653 w 11804048"/>
                  <a:gd name="connsiteY18" fmla="*/ 4566347 h 4989102"/>
                  <a:gd name="connsiteX19" fmla="*/ 9259827 w 11804048"/>
                  <a:gd name="connsiteY19" fmla="*/ 4105284 h 4989102"/>
                  <a:gd name="connsiteX20" fmla="*/ 8687061 w 11804048"/>
                  <a:gd name="connsiteY20" fmla="*/ 3706994 h 4989102"/>
                  <a:gd name="connsiteX21" fmla="*/ 6827493 w 11804048"/>
                  <a:gd name="connsiteY21" fmla="*/ 3277679 h 4989102"/>
                  <a:gd name="connsiteX22" fmla="*/ 4576790 w 11804048"/>
                  <a:gd name="connsiteY22" fmla="*/ 2777652 h 4989102"/>
                  <a:gd name="connsiteX23" fmla="*/ 3783470 w 11804048"/>
                  <a:gd name="connsiteY23" fmla="*/ 2456567 h 4989102"/>
                  <a:gd name="connsiteX24" fmla="*/ 3471621 w 11804048"/>
                  <a:gd name="connsiteY24" fmla="*/ 2060443 h 4989102"/>
                  <a:gd name="connsiteX25" fmla="*/ 4040063 w 11804048"/>
                  <a:gd name="connsiteY25" fmla="*/ 1501972 h 4989102"/>
                  <a:gd name="connsiteX26" fmla="*/ 5174543 w 11804048"/>
                  <a:gd name="connsiteY26" fmla="*/ 1228508 h 4989102"/>
                  <a:gd name="connsiteX27" fmla="*/ 6135560 w 11804048"/>
                  <a:gd name="connsiteY27" fmla="*/ 891189 h 4989102"/>
                  <a:gd name="connsiteX28" fmla="*/ 5983239 w 11804048"/>
                  <a:gd name="connsiteY28" fmla="*/ 758787 h 4989102"/>
                  <a:gd name="connsiteX29" fmla="*/ 5566157 w 11804048"/>
                  <a:gd name="connsiteY29" fmla="*/ 642619 h 4989102"/>
                  <a:gd name="connsiteX30" fmla="*/ 4293290 w 11804048"/>
                  <a:gd name="connsiteY30" fmla="*/ 475583 h 4989102"/>
                  <a:gd name="connsiteX31" fmla="*/ 2483701 w 11804048"/>
                  <a:gd name="connsiteY31" fmla="*/ 360056 h 4989102"/>
                  <a:gd name="connsiteX32" fmla="*/ 0 w 11804048"/>
                  <a:gd name="connsiteY32" fmla="*/ 360362 h 4989102"/>
                  <a:gd name="connsiteX0" fmla="*/ 2931171 w 11804048"/>
                  <a:gd name="connsiteY0" fmla="*/ 0 h 4985054"/>
                  <a:gd name="connsiteX1" fmla="*/ 6192260 w 11804048"/>
                  <a:gd name="connsiteY1" fmla="*/ 245693 h 4985054"/>
                  <a:gd name="connsiteX2" fmla="*/ 7564593 w 11804048"/>
                  <a:gd name="connsiteY2" fmla="*/ 554151 h 4985054"/>
                  <a:gd name="connsiteX3" fmla="*/ 8111411 w 11804048"/>
                  <a:gd name="connsiteY3" fmla="*/ 989960 h 4985054"/>
                  <a:gd name="connsiteX4" fmla="*/ 7998011 w 11804048"/>
                  <a:gd name="connsiteY4" fmla="*/ 1177200 h 4985054"/>
                  <a:gd name="connsiteX5" fmla="*/ 7704421 w 11804048"/>
                  <a:gd name="connsiteY5" fmla="*/ 1317899 h 4985054"/>
                  <a:gd name="connsiteX6" fmla="*/ 6816921 w 11804048"/>
                  <a:gd name="connsiteY6" fmla="*/ 1526424 h 4985054"/>
                  <a:gd name="connsiteX7" fmla="*/ 5448433 w 11804048"/>
                  <a:gd name="connsiteY7" fmla="*/ 2102934 h 4985054"/>
                  <a:gd name="connsiteX8" fmla="*/ 5977954 w 11804048"/>
                  <a:gd name="connsiteY8" fmla="*/ 2332744 h 4985054"/>
                  <a:gd name="connsiteX9" fmla="*/ 7286859 w 11804048"/>
                  <a:gd name="connsiteY9" fmla="*/ 2587808 h 4985054"/>
                  <a:gd name="connsiteX10" fmla="*/ 9458757 w 11804048"/>
                  <a:gd name="connsiteY10" fmla="*/ 3027225 h 4985054"/>
                  <a:gd name="connsiteX11" fmla="*/ 11069902 w 11804048"/>
                  <a:gd name="connsiteY11" fmla="*/ 3667591 h 4985054"/>
                  <a:gd name="connsiteX12" fmla="*/ 11575878 w 11804048"/>
                  <a:gd name="connsiteY12" fmla="*/ 4213435 h 4985054"/>
                  <a:gd name="connsiteX13" fmla="*/ 11776250 w 11804048"/>
                  <a:gd name="connsiteY13" fmla="*/ 4673055 h 4985054"/>
                  <a:gd name="connsiteX14" fmla="*/ 11803954 w 11804048"/>
                  <a:gd name="connsiteY14" fmla="*/ 4924514 h 4985054"/>
                  <a:gd name="connsiteX15" fmla="*/ 11800968 w 11804048"/>
                  <a:gd name="connsiteY15" fmla="*/ 4985054 h 4985054"/>
                  <a:gd name="connsiteX16" fmla="*/ 9480312 w 11804048"/>
                  <a:gd name="connsiteY16" fmla="*/ 4985054 h 4985054"/>
                  <a:gd name="connsiteX17" fmla="*/ 9473653 w 11804048"/>
                  <a:gd name="connsiteY17" fmla="*/ 4562299 h 4985054"/>
                  <a:gd name="connsiteX18" fmla="*/ 9259827 w 11804048"/>
                  <a:gd name="connsiteY18" fmla="*/ 4101236 h 4985054"/>
                  <a:gd name="connsiteX19" fmla="*/ 8687061 w 11804048"/>
                  <a:gd name="connsiteY19" fmla="*/ 3702946 h 4985054"/>
                  <a:gd name="connsiteX20" fmla="*/ 6827493 w 11804048"/>
                  <a:gd name="connsiteY20" fmla="*/ 3273631 h 4985054"/>
                  <a:gd name="connsiteX21" fmla="*/ 4576790 w 11804048"/>
                  <a:gd name="connsiteY21" fmla="*/ 2773604 h 4985054"/>
                  <a:gd name="connsiteX22" fmla="*/ 3783470 w 11804048"/>
                  <a:gd name="connsiteY22" fmla="*/ 2452519 h 4985054"/>
                  <a:gd name="connsiteX23" fmla="*/ 3471621 w 11804048"/>
                  <a:gd name="connsiteY23" fmla="*/ 2056395 h 4985054"/>
                  <a:gd name="connsiteX24" fmla="*/ 4040063 w 11804048"/>
                  <a:gd name="connsiteY24" fmla="*/ 1497924 h 4985054"/>
                  <a:gd name="connsiteX25" fmla="*/ 5174543 w 11804048"/>
                  <a:gd name="connsiteY25" fmla="*/ 1224460 h 4985054"/>
                  <a:gd name="connsiteX26" fmla="*/ 6135560 w 11804048"/>
                  <a:gd name="connsiteY26" fmla="*/ 887141 h 4985054"/>
                  <a:gd name="connsiteX27" fmla="*/ 5983239 w 11804048"/>
                  <a:gd name="connsiteY27" fmla="*/ 754739 h 4985054"/>
                  <a:gd name="connsiteX28" fmla="*/ 5566157 w 11804048"/>
                  <a:gd name="connsiteY28" fmla="*/ 638571 h 4985054"/>
                  <a:gd name="connsiteX29" fmla="*/ 4293290 w 11804048"/>
                  <a:gd name="connsiteY29" fmla="*/ 471535 h 4985054"/>
                  <a:gd name="connsiteX30" fmla="*/ 2483701 w 11804048"/>
                  <a:gd name="connsiteY30" fmla="*/ 356008 h 4985054"/>
                  <a:gd name="connsiteX31" fmla="*/ 0 w 11804048"/>
                  <a:gd name="connsiteY31" fmla="*/ 356314 h 4985054"/>
                  <a:gd name="connsiteX0" fmla="*/ 6192260 w 11804048"/>
                  <a:gd name="connsiteY0" fmla="*/ 0 h 4739361"/>
                  <a:gd name="connsiteX1" fmla="*/ 7564593 w 11804048"/>
                  <a:gd name="connsiteY1" fmla="*/ 308458 h 4739361"/>
                  <a:gd name="connsiteX2" fmla="*/ 8111411 w 11804048"/>
                  <a:gd name="connsiteY2" fmla="*/ 744267 h 4739361"/>
                  <a:gd name="connsiteX3" fmla="*/ 7998011 w 11804048"/>
                  <a:gd name="connsiteY3" fmla="*/ 931507 h 4739361"/>
                  <a:gd name="connsiteX4" fmla="*/ 7704421 w 11804048"/>
                  <a:gd name="connsiteY4" fmla="*/ 1072206 h 4739361"/>
                  <a:gd name="connsiteX5" fmla="*/ 6816921 w 11804048"/>
                  <a:gd name="connsiteY5" fmla="*/ 1280731 h 4739361"/>
                  <a:gd name="connsiteX6" fmla="*/ 5448433 w 11804048"/>
                  <a:gd name="connsiteY6" fmla="*/ 1857241 h 4739361"/>
                  <a:gd name="connsiteX7" fmla="*/ 5977954 w 11804048"/>
                  <a:gd name="connsiteY7" fmla="*/ 2087051 h 4739361"/>
                  <a:gd name="connsiteX8" fmla="*/ 7286859 w 11804048"/>
                  <a:gd name="connsiteY8" fmla="*/ 2342115 h 4739361"/>
                  <a:gd name="connsiteX9" fmla="*/ 9458757 w 11804048"/>
                  <a:gd name="connsiteY9" fmla="*/ 2781532 h 4739361"/>
                  <a:gd name="connsiteX10" fmla="*/ 11069902 w 11804048"/>
                  <a:gd name="connsiteY10" fmla="*/ 3421898 h 4739361"/>
                  <a:gd name="connsiteX11" fmla="*/ 11575878 w 11804048"/>
                  <a:gd name="connsiteY11" fmla="*/ 3967742 h 4739361"/>
                  <a:gd name="connsiteX12" fmla="*/ 11776250 w 11804048"/>
                  <a:gd name="connsiteY12" fmla="*/ 4427362 h 4739361"/>
                  <a:gd name="connsiteX13" fmla="*/ 11803954 w 11804048"/>
                  <a:gd name="connsiteY13" fmla="*/ 4678821 h 4739361"/>
                  <a:gd name="connsiteX14" fmla="*/ 11800968 w 11804048"/>
                  <a:gd name="connsiteY14" fmla="*/ 4739361 h 4739361"/>
                  <a:gd name="connsiteX15" fmla="*/ 9480312 w 11804048"/>
                  <a:gd name="connsiteY15" fmla="*/ 4739361 h 4739361"/>
                  <a:gd name="connsiteX16" fmla="*/ 9473653 w 11804048"/>
                  <a:gd name="connsiteY16" fmla="*/ 4316606 h 4739361"/>
                  <a:gd name="connsiteX17" fmla="*/ 9259827 w 11804048"/>
                  <a:gd name="connsiteY17" fmla="*/ 3855543 h 4739361"/>
                  <a:gd name="connsiteX18" fmla="*/ 8687061 w 11804048"/>
                  <a:gd name="connsiteY18" fmla="*/ 3457253 h 4739361"/>
                  <a:gd name="connsiteX19" fmla="*/ 6827493 w 11804048"/>
                  <a:gd name="connsiteY19" fmla="*/ 3027938 h 4739361"/>
                  <a:gd name="connsiteX20" fmla="*/ 4576790 w 11804048"/>
                  <a:gd name="connsiteY20" fmla="*/ 2527911 h 4739361"/>
                  <a:gd name="connsiteX21" fmla="*/ 3783470 w 11804048"/>
                  <a:gd name="connsiteY21" fmla="*/ 2206826 h 4739361"/>
                  <a:gd name="connsiteX22" fmla="*/ 3471621 w 11804048"/>
                  <a:gd name="connsiteY22" fmla="*/ 1810702 h 4739361"/>
                  <a:gd name="connsiteX23" fmla="*/ 4040063 w 11804048"/>
                  <a:gd name="connsiteY23" fmla="*/ 1252231 h 4739361"/>
                  <a:gd name="connsiteX24" fmla="*/ 5174543 w 11804048"/>
                  <a:gd name="connsiteY24" fmla="*/ 978767 h 4739361"/>
                  <a:gd name="connsiteX25" fmla="*/ 6135560 w 11804048"/>
                  <a:gd name="connsiteY25" fmla="*/ 641448 h 4739361"/>
                  <a:gd name="connsiteX26" fmla="*/ 5983239 w 11804048"/>
                  <a:gd name="connsiteY26" fmla="*/ 509046 h 4739361"/>
                  <a:gd name="connsiteX27" fmla="*/ 5566157 w 11804048"/>
                  <a:gd name="connsiteY27" fmla="*/ 392878 h 4739361"/>
                  <a:gd name="connsiteX28" fmla="*/ 4293290 w 11804048"/>
                  <a:gd name="connsiteY28" fmla="*/ 225842 h 4739361"/>
                  <a:gd name="connsiteX29" fmla="*/ 2483701 w 11804048"/>
                  <a:gd name="connsiteY29" fmla="*/ 110315 h 4739361"/>
                  <a:gd name="connsiteX30" fmla="*/ 0 w 11804048"/>
                  <a:gd name="connsiteY30" fmla="*/ 110621 h 4739361"/>
                  <a:gd name="connsiteX0" fmla="*/ 7564593 w 11804048"/>
                  <a:gd name="connsiteY0" fmla="*/ 198143 h 4629046"/>
                  <a:gd name="connsiteX1" fmla="*/ 8111411 w 11804048"/>
                  <a:gd name="connsiteY1" fmla="*/ 633952 h 4629046"/>
                  <a:gd name="connsiteX2" fmla="*/ 7998011 w 11804048"/>
                  <a:gd name="connsiteY2" fmla="*/ 821192 h 4629046"/>
                  <a:gd name="connsiteX3" fmla="*/ 7704421 w 11804048"/>
                  <a:gd name="connsiteY3" fmla="*/ 961891 h 4629046"/>
                  <a:gd name="connsiteX4" fmla="*/ 6816921 w 11804048"/>
                  <a:gd name="connsiteY4" fmla="*/ 1170416 h 4629046"/>
                  <a:gd name="connsiteX5" fmla="*/ 5448433 w 11804048"/>
                  <a:gd name="connsiteY5" fmla="*/ 1746926 h 4629046"/>
                  <a:gd name="connsiteX6" fmla="*/ 5977954 w 11804048"/>
                  <a:gd name="connsiteY6" fmla="*/ 1976736 h 4629046"/>
                  <a:gd name="connsiteX7" fmla="*/ 7286859 w 11804048"/>
                  <a:gd name="connsiteY7" fmla="*/ 2231800 h 4629046"/>
                  <a:gd name="connsiteX8" fmla="*/ 9458757 w 11804048"/>
                  <a:gd name="connsiteY8" fmla="*/ 2671217 h 4629046"/>
                  <a:gd name="connsiteX9" fmla="*/ 11069902 w 11804048"/>
                  <a:gd name="connsiteY9" fmla="*/ 3311583 h 4629046"/>
                  <a:gd name="connsiteX10" fmla="*/ 11575878 w 11804048"/>
                  <a:gd name="connsiteY10" fmla="*/ 3857427 h 4629046"/>
                  <a:gd name="connsiteX11" fmla="*/ 11776250 w 11804048"/>
                  <a:gd name="connsiteY11" fmla="*/ 4317047 h 4629046"/>
                  <a:gd name="connsiteX12" fmla="*/ 11803954 w 11804048"/>
                  <a:gd name="connsiteY12" fmla="*/ 4568506 h 4629046"/>
                  <a:gd name="connsiteX13" fmla="*/ 11800968 w 11804048"/>
                  <a:gd name="connsiteY13" fmla="*/ 4629046 h 4629046"/>
                  <a:gd name="connsiteX14" fmla="*/ 9480312 w 11804048"/>
                  <a:gd name="connsiteY14" fmla="*/ 4629046 h 4629046"/>
                  <a:gd name="connsiteX15" fmla="*/ 9473653 w 11804048"/>
                  <a:gd name="connsiteY15" fmla="*/ 4206291 h 4629046"/>
                  <a:gd name="connsiteX16" fmla="*/ 9259827 w 11804048"/>
                  <a:gd name="connsiteY16" fmla="*/ 3745228 h 4629046"/>
                  <a:gd name="connsiteX17" fmla="*/ 8687061 w 11804048"/>
                  <a:gd name="connsiteY17" fmla="*/ 3346938 h 4629046"/>
                  <a:gd name="connsiteX18" fmla="*/ 6827493 w 11804048"/>
                  <a:gd name="connsiteY18" fmla="*/ 2917623 h 4629046"/>
                  <a:gd name="connsiteX19" fmla="*/ 4576790 w 11804048"/>
                  <a:gd name="connsiteY19" fmla="*/ 2417596 h 4629046"/>
                  <a:gd name="connsiteX20" fmla="*/ 3783470 w 11804048"/>
                  <a:gd name="connsiteY20" fmla="*/ 2096511 h 4629046"/>
                  <a:gd name="connsiteX21" fmla="*/ 3471621 w 11804048"/>
                  <a:gd name="connsiteY21" fmla="*/ 1700387 h 4629046"/>
                  <a:gd name="connsiteX22" fmla="*/ 4040063 w 11804048"/>
                  <a:gd name="connsiteY22" fmla="*/ 1141916 h 4629046"/>
                  <a:gd name="connsiteX23" fmla="*/ 5174543 w 11804048"/>
                  <a:gd name="connsiteY23" fmla="*/ 868452 h 4629046"/>
                  <a:gd name="connsiteX24" fmla="*/ 6135560 w 11804048"/>
                  <a:gd name="connsiteY24" fmla="*/ 531133 h 4629046"/>
                  <a:gd name="connsiteX25" fmla="*/ 5983239 w 11804048"/>
                  <a:gd name="connsiteY25" fmla="*/ 398731 h 4629046"/>
                  <a:gd name="connsiteX26" fmla="*/ 5566157 w 11804048"/>
                  <a:gd name="connsiteY26" fmla="*/ 282563 h 4629046"/>
                  <a:gd name="connsiteX27" fmla="*/ 4293290 w 11804048"/>
                  <a:gd name="connsiteY27" fmla="*/ 115527 h 4629046"/>
                  <a:gd name="connsiteX28" fmla="*/ 2483701 w 11804048"/>
                  <a:gd name="connsiteY28" fmla="*/ 0 h 4629046"/>
                  <a:gd name="connsiteX29" fmla="*/ 0 w 11804048"/>
                  <a:gd name="connsiteY29" fmla="*/ 306 h 4629046"/>
                  <a:gd name="connsiteX0" fmla="*/ 8111411 w 11804048"/>
                  <a:gd name="connsiteY0" fmla="*/ 633952 h 4629046"/>
                  <a:gd name="connsiteX1" fmla="*/ 7998011 w 11804048"/>
                  <a:gd name="connsiteY1" fmla="*/ 821192 h 4629046"/>
                  <a:gd name="connsiteX2" fmla="*/ 7704421 w 11804048"/>
                  <a:gd name="connsiteY2" fmla="*/ 961891 h 4629046"/>
                  <a:gd name="connsiteX3" fmla="*/ 6816921 w 11804048"/>
                  <a:gd name="connsiteY3" fmla="*/ 1170416 h 4629046"/>
                  <a:gd name="connsiteX4" fmla="*/ 5448433 w 11804048"/>
                  <a:gd name="connsiteY4" fmla="*/ 1746926 h 4629046"/>
                  <a:gd name="connsiteX5" fmla="*/ 5977954 w 11804048"/>
                  <a:gd name="connsiteY5" fmla="*/ 1976736 h 4629046"/>
                  <a:gd name="connsiteX6" fmla="*/ 7286859 w 11804048"/>
                  <a:gd name="connsiteY6" fmla="*/ 2231800 h 4629046"/>
                  <a:gd name="connsiteX7" fmla="*/ 9458757 w 11804048"/>
                  <a:gd name="connsiteY7" fmla="*/ 2671217 h 4629046"/>
                  <a:gd name="connsiteX8" fmla="*/ 11069902 w 11804048"/>
                  <a:gd name="connsiteY8" fmla="*/ 3311583 h 4629046"/>
                  <a:gd name="connsiteX9" fmla="*/ 11575878 w 11804048"/>
                  <a:gd name="connsiteY9" fmla="*/ 3857427 h 4629046"/>
                  <a:gd name="connsiteX10" fmla="*/ 11776250 w 11804048"/>
                  <a:gd name="connsiteY10" fmla="*/ 4317047 h 4629046"/>
                  <a:gd name="connsiteX11" fmla="*/ 11803954 w 11804048"/>
                  <a:gd name="connsiteY11" fmla="*/ 4568506 h 4629046"/>
                  <a:gd name="connsiteX12" fmla="*/ 11800968 w 11804048"/>
                  <a:gd name="connsiteY12" fmla="*/ 4629046 h 4629046"/>
                  <a:gd name="connsiteX13" fmla="*/ 9480312 w 11804048"/>
                  <a:gd name="connsiteY13" fmla="*/ 4629046 h 4629046"/>
                  <a:gd name="connsiteX14" fmla="*/ 9473653 w 11804048"/>
                  <a:gd name="connsiteY14" fmla="*/ 4206291 h 4629046"/>
                  <a:gd name="connsiteX15" fmla="*/ 9259827 w 11804048"/>
                  <a:gd name="connsiteY15" fmla="*/ 3745228 h 4629046"/>
                  <a:gd name="connsiteX16" fmla="*/ 8687061 w 11804048"/>
                  <a:gd name="connsiteY16" fmla="*/ 3346938 h 4629046"/>
                  <a:gd name="connsiteX17" fmla="*/ 6827493 w 11804048"/>
                  <a:gd name="connsiteY17" fmla="*/ 2917623 h 4629046"/>
                  <a:gd name="connsiteX18" fmla="*/ 4576790 w 11804048"/>
                  <a:gd name="connsiteY18" fmla="*/ 2417596 h 4629046"/>
                  <a:gd name="connsiteX19" fmla="*/ 3783470 w 11804048"/>
                  <a:gd name="connsiteY19" fmla="*/ 2096511 h 4629046"/>
                  <a:gd name="connsiteX20" fmla="*/ 3471621 w 11804048"/>
                  <a:gd name="connsiteY20" fmla="*/ 1700387 h 4629046"/>
                  <a:gd name="connsiteX21" fmla="*/ 4040063 w 11804048"/>
                  <a:gd name="connsiteY21" fmla="*/ 1141916 h 4629046"/>
                  <a:gd name="connsiteX22" fmla="*/ 5174543 w 11804048"/>
                  <a:gd name="connsiteY22" fmla="*/ 868452 h 4629046"/>
                  <a:gd name="connsiteX23" fmla="*/ 6135560 w 11804048"/>
                  <a:gd name="connsiteY23" fmla="*/ 531133 h 4629046"/>
                  <a:gd name="connsiteX24" fmla="*/ 5983239 w 11804048"/>
                  <a:gd name="connsiteY24" fmla="*/ 398731 h 4629046"/>
                  <a:gd name="connsiteX25" fmla="*/ 5566157 w 11804048"/>
                  <a:gd name="connsiteY25" fmla="*/ 282563 h 4629046"/>
                  <a:gd name="connsiteX26" fmla="*/ 4293290 w 11804048"/>
                  <a:gd name="connsiteY26" fmla="*/ 115527 h 4629046"/>
                  <a:gd name="connsiteX27" fmla="*/ 2483701 w 11804048"/>
                  <a:gd name="connsiteY27" fmla="*/ 0 h 4629046"/>
                  <a:gd name="connsiteX28" fmla="*/ 0 w 11804048"/>
                  <a:gd name="connsiteY28" fmla="*/ 306 h 4629046"/>
                  <a:gd name="connsiteX0" fmla="*/ 7998011 w 11804048"/>
                  <a:gd name="connsiteY0" fmla="*/ 821192 h 4629046"/>
                  <a:gd name="connsiteX1" fmla="*/ 7704421 w 11804048"/>
                  <a:gd name="connsiteY1" fmla="*/ 961891 h 4629046"/>
                  <a:gd name="connsiteX2" fmla="*/ 6816921 w 11804048"/>
                  <a:gd name="connsiteY2" fmla="*/ 1170416 h 4629046"/>
                  <a:gd name="connsiteX3" fmla="*/ 5448433 w 11804048"/>
                  <a:gd name="connsiteY3" fmla="*/ 1746926 h 4629046"/>
                  <a:gd name="connsiteX4" fmla="*/ 5977954 w 11804048"/>
                  <a:gd name="connsiteY4" fmla="*/ 1976736 h 4629046"/>
                  <a:gd name="connsiteX5" fmla="*/ 7286859 w 11804048"/>
                  <a:gd name="connsiteY5" fmla="*/ 2231800 h 4629046"/>
                  <a:gd name="connsiteX6" fmla="*/ 9458757 w 11804048"/>
                  <a:gd name="connsiteY6" fmla="*/ 2671217 h 4629046"/>
                  <a:gd name="connsiteX7" fmla="*/ 11069902 w 11804048"/>
                  <a:gd name="connsiteY7" fmla="*/ 3311583 h 4629046"/>
                  <a:gd name="connsiteX8" fmla="*/ 11575878 w 11804048"/>
                  <a:gd name="connsiteY8" fmla="*/ 3857427 h 4629046"/>
                  <a:gd name="connsiteX9" fmla="*/ 11776250 w 11804048"/>
                  <a:gd name="connsiteY9" fmla="*/ 4317047 h 4629046"/>
                  <a:gd name="connsiteX10" fmla="*/ 11803954 w 11804048"/>
                  <a:gd name="connsiteY10" fmla="*/ 4568506 h 4629046"/>
                  <a:gd name="connsiteX11" fmla="*/ 11800968 w 11804048"/>
                  <a:gd name="connsiteY11" fmla="*/ 4629046 h 4629046"/>
                  <a:gd name="connsiteX12" fmla="*/ 9480312 w 11804048"/>
                  <a:gd name="connsiteY12" fmla="*/ 4629046 h 4629046"/>
                  <a:gd name="connsiteX13" fmla="*/ 9473653 w 11804048"/>
                  <a:gd name="connsiteY13" fmla="*/ 4206291 h 4629046"/>
                  <a:gd name="connsiteX14" fmla="*/ 9259827 w 11804048"/>
                  <a:gd name="connsiteY14" fmla="*/ 3745228 h 4629046"/>
                  <a:gd name="connsiteX15" fmla="*/ 8687061 w 11804048"/>
                  <a:gd name="connsiteY15" fmla="*/ 3346938 h 4629046"/>
                  <a:gd name="connsiteX16" fmla="*/ 6827493 w 11804048"/>
                  <a:gd name="connsiteY16" fmla="*/ 2917623 h 4629046"/>
                  <a:gd name="connsiteX17" fmla="*/ 4576790 w 11804048"/>
                  <a:gd name="connsiteY17" fmla="*/ 2417596 h 4629046"/>
                  <a:gd name="connsiteX18" fmla="*/ 3783470 w 11804048"/>
                  <a:gd name="connsiteY18" fmla="*/ 2096511 h 4629046"/>
                  <a:gd name="connsiteX19" fmla="*/ 3471621 w 11804048"/>
                  <a:gd name="connsiteY19" fmla="*/ 1700387 h 4629046"/>
                  <a:gd name="connsiteX20" fmla="*/ 4040063 w 11804048"/>
                  <a:gd name="connsiteY20" fmla="*/ 1141916 h 4629046"/>
                  <a:gd name="connsiteX21" fmla="*/ 5174543 w 11804048"/>
                  <a:gd name="connsiteY21" fmla="*/ 868452 h 4629046"/>
                  <a:gd name="connsiteX22" fmla="*/ 6135560 w 11804048"/>
                  <a:gd name="connsiteY22" fmla="*/ 531133 h 4629046"/>
                  <a:gd name="connsiteX23" fmla="*/ 5983239 w 11804048"/>
                  <a:gd name="connsiteY23" fmla="*/ 398731 h 4629046"/>
                  <a:gd name="connsiteX24" fmla="*/ 5566157 w 11804048"/>
                  <a:gd name="connsiteY24" fmla="*/ 282563 h 4629046"/>
                  <a:gd name="connsiteX25" fmla="*/ 4293290 w 11804048"/>
                  <a:gd name="connsiteY25" fmla="*/ 115527 h 4629046"/>
                  <a:gd name="connsiteX26" fmla="*/ 2483701 w 11804048"/>
                  <a:gd name="connsiteY26" fmla="*/ 0 h 4629046"/>
                  <a:gd name="connsiteX27" fmla="*/ 0 w 11804048"/>
                  <a:gd name="connsiteY27" fmla="*/ 306 h 4629046"/>
                  <a:gd name="connsiteX0" fmla="*/ 7704421 w 11804048"/>
                  <a:gd name="connsiteY0" fmla="*/ 961891 h 4629046"/>
                  <a:gd name="connsiteX1" fmla="*/ 6816921 w 11804048"/>
                  <a:gd name="connsiteY1" fmla="*/ 1170416 h 4629046"/>
                  <a:gd name="connsiteX2" fmla="*/ 5448433 w 11804048"/>
                  <a:gd name="connsiteY2" fmla="*/ 1746926 h 4629046"/>
                  <a:gd name="connsiteX3" fmla="*/ 5977954 w 11804048"/>
                  <a:gd name="connsiteY3" fmla="*/ 1976736 h 4629046"/>
                  <a:gd name="connsiteX4" fmla="*/ 7286859 w 11804048"/>
                  <a:gd name="connsiteY4" fmla="*/ 2231800 h 4629046"/>
                  <a:gd name="connsiteX5" fmla="*/ 9458757 w 11804048"/>
                  <a:gd name="connsiteY5" fmla="*/ 2671217 h 4629046"/>
                  <a:gd name="connsiteX6" fmla="*/ 11069902 w 11804048"/>
                  <a:gd name="connsiteY6" fmla="*/ 3311583 h 4629046"/>
                  <a:gd name="connsiteX7" fmla="*/ 11575878 w 11804048"/>
                  <a:gd name="connsiteY7" fmla="*/ 3857427 h 4629046"/>
                  <a:gd name="connsiteX8" fmla="*/ 11776250 w 11804048"/>
                  <a:gd name="connsiteY8" fmla="*/ 4317047 h 4629046"/>
                  <a:gd name="connsiteX9" fmla="*/ 11803954 w 11804048"/>
                  <a:gd name="connsiteY9" fmla="*/ 4568506 h 4629046"/>
                  <a:gd name="connsiteX10" fmla="*/ 11800968 w 11804048"/>
                  <a:gd name="connsiteY10" fmla="*/ 4629046 h 4629046"/>
                  <a:gd name="connsiteX11" fmla="*/ 9480312 w 11804048"/>
                  <a:gd name="connsiteY11" fmla="*/ 4629046 h 4629046"/>
                  <a:gd name="connsiteX12" fmla="*/ 9473653 w 11804048"/>
                  <a:gd name="connsiteY12" fmla="*/ 4206291 h 4629046"/>
                  <a:gd name="connsiteX13" fmla="*/ 9259827 w 11804048"/>
                  <a:gd name="connsiteY13" fmla="*/ 3745228 h 4629046"/>
                  <a:gd name="connsiteX14" fmla="*/ 8687061 w 11804048"/>
                  <a:gd name="connsiteY14" fmla="*/ 3346938 h 4629046"/>
                  <a:gd name="connsiteX15" fmla="*/ 6827493 w 11804048"/>
                  <a:gd name="connsiteY15" fmla="*/ 2917623 h 4629046"/>
                  <a:gd name="connsiteX16" fmla="*/ 4576790 w 11804048"/>
                  <a:gd name="connsiteY16" fmla="*/ 2417596 h 4629046"/>
                  <a:gd name="connsiteX17" fmla="*/ 3783470 w 11804048"/>
                  <a:gd name="connsiteY17" fmla="*/ 2096511 h 4629046"/>
                  <a:gd name="connsiteX18" fmla="*/ 3471621 w 11804048"/>
                  <a:gd name="connsiteY18" fmla="*/ 1700387 h 4629046"/>
                  <a:gd name="connsiteX19" fmla="*/ 4040063 w 11804048"/>
                  <a:gd name="connsiteY19" fmla="*/ 1141916 h 4629046"/>
                  <a:gd name="connsiteX20" fmla="*/ 5174543 w 11804048"/>
                  <a:gd name="connsiteY20" fmla="*/ 868452 h 4629046"/>
                  <a:gd name="connsiteX21" fmla="*/ 6135560 w 11804048"/>
                  <a:gd name="connsiteY21" fmla="*/ 531133 h 4629046"/>
                  <a:gd name="connsiteX22" fmla="*/ 5983239 w 11804048"/>
                  <a:gd name="connsiteY22" fmla="*/ 398731 h 4629046"/>
                  <a:gd name="connsiteX23" fmla="*/ 5566157 w 11804048"/>
                  <a:gd name="connsiteY23" fmla="*/ 282563 h 4629046"/>
                  <a:gd name="connsiteX24" fmla="*/ 4293290 w 11804048"/>
                  <a:gd name="connsiteY24" fmla="*/ 115527 h 4629046"/>
                  <a:gd name="connsiteX25" fmla="*/ 2483701 w 11804048"/>
                  <a:gd name="connsiteY25" fmla="*/ 0 h 4629046"/>
                  <a:gd name="connsiteX26" fmla="*/ 0 w 11804048"/>
                  <a:gd name="connsiteY26" fmla="*/ 306 h 4629046"/>
                  <a:gd name="connsiteX0" fmla="*/ 6816921 w 11804048"/>
                  <a:gd name="connsiteY0" fmla="*/ 1170416 h 4629046"/>
                  <a:gd name="connsiteX1" fmla="*/ 5448433 w 11804048"/>
                  <a:gd name="connsiteY1" fmla="*/ 1746926 h 4629046"/>
                  <a:gd name="connsiteX2" fmla="*/ 5977954 w 11804048"/>
                  <a:gd name="connsiteY2" fmla="*/ 1976736 h 4629046"/>
                  <a:gd name="connsiteX3" fmla="*/ 7286859 w 11804048"/>
                  <a:gd name="connsiteY3" fmla="*/ 2231800 h 4629046"/>
                  <a:gd name="connsiteX4" fmla="*/ 9458757 w 11804048"/>
                  <a:gd name="connsiteY4" fmla="*/ 2671217 h 4629046"/>
                  <a:gd name="connsiteX5" fmla="*/ 11069902 w 11804048"/>
                  <a:gd name="connsiteY5" fmla="*/ 3311583 h 4629046"/>
                  <a:gd name="connsiteX6" fmla="*/ 11575878 w 11804048"/>
                  <a:gd name="connsiteY6" fmla="*/ 3857427 h 4629046"/>
                  <a:gd name="connsiteX7" fmla="*/ 11776250 w 11804048"/>
                  <a:gd name="connsiteY7" fmla="*/ 4317047 h 4629046"/>
                  <a:gd name="connsiteX8" fmla="*/ 11803954 w 11804048"/>
                  <a:gd name="connsiteY8" fmla="*/ 4568506 h 4629046"/>
                  <a:gd name="connsiteX9" fmla="*/ 11800968 w 11804048"/>
                  <a:gd name="connsiteY9" fmla="*/ 4629046 h 4629046"/>
                  <a:gd name="connsiteX10" fmla="*/ 9480312 w 11804048"/>
                  <a:gd name="connsiteY10" fmla="*/ 4629046 h 4629046"/>
                  <a:gd name="connsiteX11" fmla="*/ 9473653 w 11804048"/>
                  <a:gd name="connsiteY11" fmla="*/ 4206291 h 4629046"/>
                  <a:gd name="connsiteX12" fmla="*/ 9259827 w 11804048"/>
                  <a:gd name="connsiteY12" fmla="*/ 3745228 h 4629046"/>
                  <a:gd name="connsiteX13" fmla="*/ 8687061 w 11804048"/>
                  <a:gd name="connsiteY13" fmla="*/ 3346938 h 4629046"/>
                  <a:gd name="connsiteX14" fmla="*/ 6827493 w 11804048"/>
                  <a:gd name="connsiteY14" fmla="*/ 2917623 h 4629046"/>
                  <a:gd name="connsiteX15" fmla="*/ 4576790 w 11804048"/>
                  <a:gd name="connsiteY15" fmla="*/ 2417596 h 4629046"/>
                  <a:gd name="connsiteX16" fmla="*/ 3783470 w 11804048"/>
                  <a:gd name="connsiteY16" fmla="*/ 2096511 h 4629046"/>
                  <a:gd name="connsiteX17" fmla="*/ 3471621 w 11804048"/>
                  <a:gd name="connsiteY17" fmla="*/ 1700387 h 4629046"/>
                  <a:gd name="connsiteX18" fmla="*/ 4040063 w 11804048"/>
                  <a:gd name="connsiteY18" fmla="*/ 1141916 h 4629046"/>
                  <a:gd name="connsiteX19" fmla="*/ 5174543 w 11804048"/>
                  <a:gd name="connsiteY19" fmla="*/ 868452 h 4629046"/>
                  <a:gd name="connsiteX20" fmla="*/ 6135560 w 11804048"/>
                  <a:gd name="connsiteY20" fmla="*/ 531133 h 4629046"/>
                  <a:gd name="connsiteX21" fmla="*/ 5983239 w 11804048"/>
                  <a:gd name="connsiteY21" fmla="*/ 398731 h 4629046"/>
                  <a:gd name="connsiteX22" fmla="*/ 5566157 w 11804048"/>
                  <a:gd name="connsiteY22" fmla="*/ 282563 h 4629046"/>
                  <a:gd name="connsiteX23" fmla="*/ 4293290 w 11804048"/>
                  <a:gd name="connsiteY23" fmla="*/ 115527 h 4629046"/>
                  <a:gd name="connsiteX24" fmla="*/ 2483701 w 11804048"/>
                  <a:gd name="connsiteY24" fmla="*/ 0 h 4629046"/>
                  <a:gd name="connsiteX25" fmla="*/ 0 w 11804048"/>
                  <a:gd name="connsiteY25" fmla="*/ 306 h 4629046"/>
                  <a:gd name="connsiteX0" fmla="*/ 5448433 w 11804048"/>
                  <a:gd name="connsiteY0" fmla="*/ 1746926 h 4629046"/>
                  <a:gd name="connsiteX1" fmla="*/ 5977954 w 11804048"/>
                  <a:gd name="connsiteY1" fmla="*/ 1976736 h 4629046"/>
                  <a:gd name="connsiteX2" fmla="*/ 7286859 w 11804048"/>
                  <a:gd name="connsiteY2" fmla="*/ 2231800 h 4629046"/>
                  <a:gd name="connsiteX3" fmla="*/ 9458757 w 11804048"/>
                  <a:gd name="connsiteY3" fmla="*/ 2671217 h 4629046"/>
                  <a:gd name="connsiteX4" fmla="*/ 11069902 w 11804048"/>
                  <a:gd name="connsiteY4" fmla="*/ 3311583 h 4629046"/>
                  <a:gd name="connsiteX5" fmla="*/ 11575878 w 11804048"/>
                  <a:gd name="connsiteY5" fmla="*/ 3857427 h 4629046"/>
                  <a:gd name="connsiteX6" fmla="*/ 11776250 w 11804048"/>
                  <a:gd name="connsiteY6" fmla="*/ 4317047 h 4629046"/>
                  <a:gd name="connsiteX7" fmla="*/ 11803954 w 11804048"/>
                  <a:gd name="connsiteY7" fmla="*/ 4568506 h 4629046"/>
                  <a:gd name="connsiteX8" fmla="*/ 11800968 w 11804048"/>
                  <a:gd name="connsiteY8" fmla="*/ 4629046 h 4629046"/>
                  <a:gd name="connsiteX9" fmla="*/ 9480312 w 11804048"/>
                  <a:gd name="connsiteY9" fmla="*/ 4629046 h 4629046"/>
                  <a:gd name="connsiteX10" fmla="*/ 9473653 w 11804048"/>
                  <a:gd name="connsiteY10" fmla="*/ 4206291 h 4629046"/>
                  <a:gd name="connsiteX11" fmla="*/ 9259827 w 11804048"/>
                  <a:gd name="connsiteY11" fmla="*/ 3745228 h 4629046"/>
                  <a:gd name="connsiteX12" fmla="*/ 8687061 w 11804048"/>
                  <a:gd name="connsiteY12" fmla="*/ 3346938 h 4629046"/>
                  <a:gd name="connsiteX13" fmla="*/ 6827493 w 11804048"/>
                  <a:gd name="connsiteY13" fmla="*/ 2917623 h 4629046"/>
                  <a:gd name="connsiteX14" fmla="*/ 4576790 w 11804048"/>
                  <a:gd name="connsiteY14" fmla="*/ 2417596 h 4629046"/>
                  <a:gd name="connsiteX15" fmla="*/ 3783470 w 11804048"/>
                  <a:gd name="connsiteY15" fmla="*/ 2096511 h 4629046"/>
                  <a:gd name="connsiteX16" fmla="*/ 3471621 w 11804048"/>
                  <a:gd name="connsiteY16" fmla="*/ 1700387 h 4629046"/>
                  <a:gd name="connsiteX17" fmla="*/ 4040063 w 11804048"/>
                  <a:gd name="connsiteY17" fmla="*/ 1141916 h 4629046"/>
                  <a:gd name="connsiteX18" fmla="*/ 5174543 w 11804048"/>
                  <a:gd name="connsiteY18" fmla="*/ 868452 h 4629046"/>
                  <a:gd name="connsiteX19" fmla="*/ 6135560 w 11804048"/>
                  <a:gd name="connsiteY19" fmla="*/ 531133 h 4629046"/>
                  <a:gd name="connsiteX20" fmla="*/ 5983239 w 11804048"/>
                  <a:gd name="connsiteY20" fmla="*/ 398731 h 4629046"/>
                  <a:gd name="connsiteX21" fmla="*/ 5566157 w 11804048"/>
                  <a:gd name="connsiteY21" fmla="*/ 282563 h 4629046"/>
                  <a:gd name="connsiteX22" fmla="*/ 4293290 w 11804048"/>
                  <a:gd name="connsiteY22" fmla="*/ 115527 h 4629046"/>
                  <a:gd name="connsiteX23" fmla="*/ 2483701 w 11804048"/>
                  <a:gd name="connsiteY23" fmla="*/ 0 h 4629046"/>
                  <a:gd name="connsiteX24" fmla="*/ 0 w 11804048"/>
                  <a:gd name="connsiteY24" fmla="*/ 306 h 4629046"/>
                  <a:gd name="connsiteX0" fmla="*/ 5977954 w 11804048"/>
                  <a:gd name="connsiteY0" fmla="*/ 1976736 h 4629046"/>
                  <a:gd name="connsiteX1" fmla="*/ 7286859 w 11804048"/>
                  <a:gd name="connsiteY1" fmla="*/ 2231800 h 4629046"/>
                  <a:gd name="connsiteX2" fmla="*/ 9458757 w 11804048"/>
                  <a:gd name="connsiteY2" fmla="*/ 2671217 h 4629046"/>
                  <a:gd name="connsiteX3" fmla="*/ 11069902 w 11804048"/>
                  <a:gd name="connsiteY3" fmla="*/ 3311583 h 4629046"/>
                  <a:gd name="connsiteX4" fmla="*/ 11575878 w 11804048"/>
                  <a:gd name="connsiteY4" fmla="*/ 3857427 h 4629046"/>
                  <a:gd name="connsiteX5" fmla="*/ 11776250 w 11804048"/>
                  <a:gd name="connsiteY5" fmla="*/ 4317047 h 4629046"/>
                  <a:gd name="connsiteX6" fmla="*/ 11803954 w 11804048"/>
                  <a:gd name="connsiteY6" fmla="*/ 4568506 h 4629046"/>
                  <a:gd name="connsiteX7" fmla="*/ 11800968 w 11804048"/>
                  <a:gd name="connsiteY7" fmla="*/ 4629046 h 4629046"/>
                  <a:gd name="connsiteX8" fmla="*/ 9480312 w 11804048"/>
                  <a:gd name="connsiteY8" fmla="*/ 4629046 h 4629046"/>
                  <a:gd name="connsiteX9" fmla="*/ 9473653 w 11804048"/>
                  <a:gd name="connsiteY9" fmla="*/ 4206291 h 4629046"/>
                  <a:gd name="connsiteX10" fmla="*/ 9259827 w 11804048"/>
                  <a:gd name="connsiteY10" fmla="*/ 3745228 h 4629046"/>
                  <a:gd name="connsiteX11" fmla="*/ 8687061 w 11804048"/>
                  <a:gd name="connsiteY11" fmla="*/ 3346938 h 4629046"/>
                  <a:gd name="connsiteX12" fmla="*/ 6827493 w 11804048"/>
                  <a:gd name="connsiteY12" fmla="*/ 2917623 h 4629046"/>
                  <a:gd name="connsiteX13" fmla="*/ 4576790 w 11804048"/>
                  <a:gd name="connsiteY13" fmla="*/ 2417596 h 4629046"/>
                  <a:gd name="connsiteX14" fmla="*/ 3783470 w 11804048"/>
                  <a:gd name="connsiteY14" fmla="*/ 2096511 h 4629046"/>
                  <a:gd name="connsiteX15" fmla="*/ 3471621 w 11804048"/>
                  <a:gd name="connsiteY15" fmla="*/ 1700387 h 4629046"/>
                  <a:gd name="connsiteX16" fmla="*/ 4040063 w 11804048"/>
                  <a:gd name="connsiteY16" fmla="*/ 1141916 h 4629046"/>
                  <a:gd name="connsiteX17" fmla="*/ 5174543 w 11804048"/>
                  <a:gd name="connsiteY17" fmla="*/ 868452 h 4629046"/>
                  <a:gd name="connsiteX18" fmla="*/ 6135560 w 11804048"/>
                  <a:gd name="connsiteY18" fmla="*/ 531133 h 4629046"/>
                  <a:gd name="connsiteX19" fmla="*/ 5983239 w 11804048"/>
                  <a:gd name="connsiteY19" fmla="*/ 398731 h 4629046"/>
                  <a:gd name="connsiteX20" fmla="*/ 5566157 w 11804048"/>
                  <a:gd name="connsiteY20" fmla="*/ 282563 h 4629046"/>
                  <a:gd name="connsiteX21" fmla="*/ 4293290 w 11804048"/>
                  <a:gd name="connsiteY21" fmla="*/ 115527 h 4629046"/>
                  <a:gd name="connsiteX22" fmla="*/ 2483701 w 11804048"/>
                  <a:gd name="connsiteY22" fmla="*/ 0 h 4629046"/>
                  <a:gd name="connsiteX23" fmla="*/ 0 w 11804048"/>
                  <a:gd name="connsiteY23" fmla="*/ 306 h 4629046"/>
                  <a:gd name="connsiteX0" fmla="*/ 7286859 w 11804048"/>
                  <a:gd name="connsiteY0" fmla="*/ 2231800 h 4629046"/>
                  <a:gd name="connsiteX1" fmla="*/ 9458757 w 11804048"/>
                  <a:gd name="connsiteY1" fmla="*/ 2671217 h 4629046"/>
                  <a:gd name="connsiteX2" fmla="*/ 11069902 w 11804048"/>
                  <a:gd name="connsiteY2" fmla="*/ 3311583 h 4629046"/>
                  <a:gd name="connsiteX3" fmla="*/ 11575878 w 11804048"/>
                  <a:gd name="connsiteY3" fmla="*/ 3857427 h 4629046"/>
                  <a:gd name="connsiteX4" fmla="*/ 11776250 w 11804048"/>
                  <a:gd name="connsiteY4" fmla="*/ 4317047 h 4629046"/>
                  <a:gd name="connsiteX5" fmla="*/ 11803954 w 11804048"/>
                  <a:gd name="connsiteY5" fmla="*/ 4568506 h 4629046"/>
                  <a:gd name="connsiteX6" fmla="*/ 11800968 w 11804048"/>
                  <a:gd name="connsiteY6" fmla="*/ 4629046 h 4629046"/>
                  <a:gd name="connsiteX7" fmla="*/ 9480312 w 11804048"/>
                  <a:gd name="connsiteY7" fmla="*/ 4629046 h 4629046"/>
                  <a:gd name="connsiteX8" fmla="*/ 9473653 w 11804048"/>
                  <a:gd name="connsiteY8" fmla="*/ 4206291 h 4629046"/>
                  <a:gd name="connsiteX9" fmla="*/ 9259827 w 11804048"/>
                  <a:gd name="connsiteY9" fmla="*/ 3745228 h 4629046"/>
                  <a:gd name="connsiteX10" fmla="*/ 8687061 w 11804048"/>
                  <a:gd name="connsiteY10" fmla="*/ 3346938 h 4629046"/>
                  <a:gd name="connsiteX11" fmla="*/ 6827493 w 11804048"/>
                  <a:gd name="connsiteY11" fmla="*/ 2917623 h 4629046"/>
                  <a:gd name="connsiteX12" fmla="*/ 4576790 w 11804048"/>
                  <a:gd name="connsiteY12" fmla="*/ 2417596 h 4629046"/>
                  <a:gd name="connsiteX13" fmla="*/ 3783470 w 11804048"/>
                  <a:gd name="connsiteY13" fmla="*/ 2096511 h 4629046"/>
                  <a:gd name="connsiteX14" fmla="*/ 3471621 w 11804048"/>
                  <a:gd name="connsiteY14" fmla="*/ 1700387 h 4629046"/>
                  <a:gd name="connsiteX15" fmla="*/ 4040063 w 11804048"/>
                  <a:gd name="connsiteY15" fmla="*/ 1141916 h 4629046"/>
                  <a:gd name="connsiteX16" fmla="*/ 5174543 w 11804048"/>
                  <a:gd name="connsiteY16" fmla="*/ 868452 h 4629046"/>
                  <a:gd name="connsiteX17" fmla="*/ 6135560 w 11804048"/>
                  <a:gd name="connsiteY17" fmla="*/ 531133 h 4629046"/>
                  <a:gd name="connsiteX18" fmla="*/ 5983239 w 11804048"/>
                  <a:gd name="connsiteY18" fmla="*/ 398731 h 4629046"/>
                  <a:gd name="connsiteX19" fmla="*/ 5566157 w 11804048"/>
                  <a:gd name="connsiteY19" fmla="*/ 282563 h 4629046"/>
                  <a:gd name="connsiteX20" fmla="*/ 4293290 w 11804048"/>
                  <a:gd name="connsiteY20" fmla="*/ 115527 h 4629046"/>
                  <a:gd name="connsiteX21" fmla="*/ 2483701 w 11804048"/>
                  <a:gd name="connsiteY21" fmla="*/ 0 h 4629046"/>
                  <a:gd name="connsiteX22" fmla="*/ 0 w 11804048"/>
                  <a:gd name="connsiteY22" fmla="*/ 306 h 4629046"/>
                  <a:gd name="connsiteX0" fmla="*/ 9458757 w 11804048"/>
                  <a:gd name="connsiteY0" fmla="*/ 2671217 h 4629046"/>
                  <a:gd name="connsiteX1" fmla="*/ 11069902 w 11804048"/>
                  <a:gd name="connsiteY1" fmla="*/ 3311583 h 4629046"/>
                  <a:gd name="connsiteX2" fmla="*/ 11575878 w 11804048"/>
                  <a:gd name="connsiteY2" fmla="*/ 3857427 h 4629046"/>
                  <a:gd name="connsiteX3" fmla="*/ 11776250 w 11804048"/>
                  <a:gd name="connsiteY3" fmla="*/ 4317047 h 4629046"/>
                  <a:gd name="connsiteX4" fmla="*/ 11803954 w 11804048"/>
                  <a:gd name="connsiteY4" fmla="*/ 4568506 h 4629046"/>
                  <a:gd name="connsiteX5" fmla="*/ 11800968 w 11804048"/>
                  <a:gd name="connsiteY5" fmla="*/ 4629046 h 4629046"/>
                  <a:gd name="connsiteX6" fmla="*/ 9480312 w 11804048"/>
                  <a:gd name="connsiteY6" fmla="*/ 4629046 h 4629046"/>
                  <a:gd name="connsiteX7" fmla="*/ 9473653 w 11804048"/>
                  <a:gd name="connsiteY7" fmla="*/ 4206291 h 4629046"/>
                  <a:gd name="connsiteX8" fmla="*/ 9259827 w 11804048"/>
                  <a:gd name="connsiteY8" fmla="*/ 3745228 h 4629046"/>
                  <a:gd name="connsiteX9" fmla="*/ 8687061 w 11804048"/>
                  <a:gd name="connsiteY9" fmla="*/ 3346938 h 4629046"/>
                  <a:gd name="connsiteX10" fmla="*/ 6827493 w 11804048"/>
                  <a:gd name="connsiteY10" fmla="*/ 2917623 h 4629046"/>
                  <a:gd name="connsiteX11" fmla="*/ 4576790 w 11804048"/>
                  <a:gd name="connsiteY11" fmla="*/ 2417596 h 4629046"/>
                  <a:gd name="connsiteX12" fmla="*/ 3783470 w 11804048"/>
                  <a:gd name="connsiteY12" fmla="*/ 2096511 h 4629046"/>
                  <a:gd name="connsiteX13" fmla="*/ 3471621 w 11804048"/>
                  <a:gd name="connsiteY13" fmla="*/ 1700387 h 4629046"/>
                  <a:gd name="connsiteX14" fmla="*/ 4040063 w 11804048"/>
                  <a:gd name="connsiteY14" fmla="*/ 1141916 h 4629046"/>
                  <a:gd name="connsiteX15" fmla="*/ 5174543 w 11804048"/>
                  <a:gd name="connsiteY15" fmla="*/ 868452 h 4629046"/>
                  <a:gd name="connsiteX16" fmla="*/ 6135560 w 11804048"/>
                  <a:gd name="connsiteY16" fmla="*/ 531133 h 4629046"/>
                  <a:gd name="connsiteX17" fmla="*/ 5983239 w 11804048"/>
                  <a:gd name="connsiteY17" fmla="*/ 398731 h 4629046"/>
                  <a:gd name="connsiteX18" fmla="*/ 5566157 w 11804048"/>
                  <a:gd name="connsiteY18" fmla="*/ 282563 h 4629046"/>
                  <a:gd name="connsiteX19" fmla="*/ 4293290 w 11804048"/>
                  <a:gd name="connsiteY19" fmla="*/ 115527 h 4629046"/>
                  <a:gd name="connsiteX20" fmla="*/ 2483701 w 11804048"/>
                  <a:gd name="connsiteY20" fmla="*/ 0 h 4629046"/>
                  <a:gd name="connsiteX21" fmla="*/ 0 w 11804048"/>
                  <a:gd name="connsiteY21" fmla="*/ 306 h 4629046"/>
                  <a:gd name="connsiteX0" fmla="*/ 11069902 w 11804048"/>
                  <a:gd name="connsiteY0" fmla="*/ 3311583 h 4629046"/>
                  <a:gd name="connsiteX1" fmla="*/ 11575878 w 11804048"/>
                  <a:gd name="connsiteY1" fmla="*/ 3857427 h 4629046"/>
                  <a:gd name="connsiteX2" fmla="*/ 11776250 w 11804048"/>
                  <a:gd name="connsiteY2" fmla="*/ 4317047 h 4629046"/>
                  <a:gd name="connsiteX3" fmla="*/ 11803954 w 11804048"/>
                  <a:gd name="connsiteY3" fmla="*/ 4568506 h 4629046"/>
                  <a:gd name="connsiteX4" fmla="*/ 11800968 w 11804048"/>
                  <a:gd name="connsiteY4" fmla="*/ 4629046 h 4629046"/>
                  <a:gd name="connsiteX5" fmla="*/ 9480312 w 11804048"/>
                  <a:gd name="connsiteY5" fmla="*/ 4629046 h 4629046"/>
                  <a:gd name="connsiteX6" fmla="*/ 9473653 w 11804048"/>
                  <a:gd name="connsiteY6" fmla="*/ 4206291 h 4629046"/>
                  <a:gd name="connsiteX7" fmla="*/ 9259827 w 11804048"/>
                  <a:gd name="connsiteY7" fmla="*/ 3745228 h 4629046"/>
                  <a:gd name="connsiteX8" fmla="*/ 8687061 w 11804048"/>
                  <a:gd name="connsiteY8" fmla="*/ 3346938 h 4629046"/>
                  <a:gd name="connsiteX9" fmla="*/ 6827493 w 11804048"/>
                  <a:gd name="connsiteY9" fmla="*/ 2917623 h 4629046"/>
                  <a:gd name="connsiteX10" fmla="*/ 4576790 w 11804048"/>
                  <a:gd name="connsiteY10" fmla="*/ 2417596 h 4629046"/>
                  <a:gd name="connsiteX11" fmla="*/ 3783470 w 11804048"/>
                  <a:gd name="connsiteY11" fmla="*/ 2096511 h 4629046"/>
                  <a:gd name="connsiteX12" fmla="*/ 3471621 w 11804048"/>
                  <a:gd name="connsiteY12" fmla="*/ 1700387 h 4629046"/>
                  <a:gd name="connsiteX13" fmla="*/ 4040063 w 11804048"/>
                  <a:gd name="connsiteY13" fmla="*/ 1141916 h 4629046"/>
                  <a:gd name="connsiteX14" fmla="*/ 5174543 w 11804048"/>
                  <a:gd name="connsiteY14" fmla="*/ 868452 h 4629046"/>
                  <a:gd name="connsiteX15" fmla="*/ 6135560 w 11804048"/>
                  <a:gd name="connsiteY15" fmla="*/ 531133 h 4629046"/>
                  <a:gd name="connsiteX16" fmla="*/ 5983239 w 11804048"/>
                  <a:gd name="connsiteY16" fmla="*/ 398731 h 4629046"/>
                  <a:gd name="connsiteX17" fmla="*/ 5566157 w 11804048"/>
                  <a:gd name="connsiteY17" fmla="*/ 282563 h 4629046"/>
                  <a:gd name="connsiteX18" fmla="*/ 4293290 w 11804048"/>
                  <a:gd name="connsiteY18" fmla="*/ 115527 h 4629046"/>
                  <a:gd name="connsiteX19" fmla="*/ 2483701 w 11804048"/>
                  <a:gd name="connsiteY19" fmla="*/ 0 h 4629046"/>
                  <a:gd name="connsiteX20" fmla="*/ 0 w 11804048"/>
                  <a:gd name="connsiteY20" fmla="*/ 306 h 4629046"/>
                  <a:gd name="connsiteX0" fmla="*/ 11575878 w 11804048"/>
                  <a:gd name="connsiteY0" fmla="*/ 3857427 h 4629046"/>
                  <a:gd name="connsiteX1" fmla="*/ 11776250 w 11804048"/>
                  <a:gd name="connsiteY1" fmla="*/ 4317047 h 4629046"/>
                  <a:gd name="connsiteX2" fmla="*/ 11803954 w 11804048"/>
                  <a:gd name="connsiteY2" fmla="*/ 4568506 h 4629046"/>
                  <a:gd name="connsiteX3" fmla="*/ 11800968 w 11804048"/>
                  <a:gd name="connsiteY3" fmla="*/ 4629046 h 4629046"/>
                  <a:gd name="connsiteX4" fmla="*/ 9480312 w 11804048"/>
                  <a:gd name="connsiteY4" fmla="*/ 4629046 h 4629046"/>
                  <a:gd name="connsiteX5" fmla="*/ 9473653 w 11804048"/>
                  <a:gd name="connsiteY5" fmla="*/ 4206291 h 4629046"/>
                  <a:gd name="connsiteX6" fmla="*/ 9259827 w 11804048"/>
                  <a:gd name="connsiteY6" fmla="*/ 3745228 h 4629046"/>
                  <a:gd name="connsiteX7" fmla="*/ 8687061 w 11804048"/>
                  <a:gd name="connsiteY7" fmla="*/ 3346938 h 4629046"/>
                  <a:gd name="connsiteX8" fmla="*/ 6827493 w 11804048"/>
                  <a:gd name="connsiteY8" fmla="*/ 2917623 h 4629046"/>
                  <a:gd name="connsiteX9" fmla="*/ 4576790 w 11804048"/>
                  <a:gd name="connsiteY9" fmla="*/ 2417596 h 4629046"/>
                  <a:gd name="connsiteX10" fmla="*/ 3783470 w 11804048"/>
                  <a:gd name="connsiteY10" fmla="*/ 2096511 h 4629046"/>
                  <a:gd name="connsiteX11" fmla="*/ 3471621 w 11804048"/>
                  <a:gd name="connsiteY11" fmla="*/ 1700387 h 4629046"/>
                  <a:gd name="connsiteX12" fmla="*/ 4040063 w 11804048"/>
                  <a:gd name="connsiteY12" fmla="*/ 1141916 h 4629046"/>
                  <a:gd name="connsiteX13" fmla="*/ 5174543 w 11804048"/>
                  <a:gd name="connsiteY13" fmla="*/ 868452 h 4629046"/>
                  <a:gd name="connsiteX14" fmla="*/ 6135560 w 11804048"/>
                  <a:gd name="connsiteY14" fmla="*/ 531133 h 4629046"/>
                  <a:gd name="connsiteX15" fmla="*/ 5983239 w 11804048"/>
                  <a:gd name="connsiteY15" fmla="*/ 398731 h 4629046"/>
                  <a:gd name="connsiteX16" fmla="*/ 5566157 w 11804048"/>
                  <a:gd name="connsiteY16" fmla="*/ 282563 h 4629046"/>
                  <a:gd name="connsiteX17" fmla="*/ 4293290 w 11804048"/>
                  <a:gd name="connsiteY17" fmla="*/ 115527 h 4629046"/>
                  <a:gd name="connsiteX18" fmla="*/ 2483701 w 11804048"/>
                  <a:gd name="connsiteY18" fmla="*/ 0 h 4629046"/>
                  <a:gd name="connsiteX19" fmla="*/ 0 w 11804048"/>
                  <a:gd name="connsiteY19" fmla="*/ 306 h 4629046"/>
                  <a:gd name="connsiteX0" fmla="*/ 11776250 w 11804048"/>
                  <a:gd name="connsiteY0" fmla="*/ 4317047 h 4629046"/>
                  <a:gd name="connsiteX1" fmla="*/ 11803954 w 11804048"/>
                  <a:gd name="connsiteY1" fmla="*/ 4568506 h 4629046"/>
                  <a:gd name="connsiteX2" fmla="*/ 11800968 w 11804048"/>
                  <a:gd name="connsiteY2" fmla="*/ 4629046 h 4629046"/>
                  <a:gd name="connsiteX3" fmla="*/ 9480312 w 11804048"/>
                  <a:gd name="connsiteY3" fmla="*/ 4629046 h 4629046"/>
                  <a:gd name="connsiteX4" fmla="*/ 9473653 w 11804048"/>
                  <a:gd name="connsiteY4" fmla="*/ 4206291 h 4629046"/>
                  <a:gd name="connsiteX5" fmla="*/ 9259827 w 11804048"/>
                  <a:gd name="connsiteY5" fmla="*/ 3745228 h 4629046"/>
                  <a:gd name="connsiteX6" fmla="*/ 8687061 w 11804048"/>
                  <a:gd name="connsiteY6" fmla="*/ 3346938 h 4629046"/>
                  <a:gd name="connsiteX7" fmla="*/ 6827493 w 11804048"/>
                  <a:gd name="connsiteY7" fmla="*/ 2917623 h 4629046"/>
                  <a:gd name="connsiteX8" fmla="*/ 4576790 w 11804048"/>
                  <a:gd name="connsiteY8" fmla="*/ 2417596 h 4629046"/>
                  <a:gd name="connsiteX9" fmla="*/ 3783470 w 11804048"/>
                  <a:gd name="connsiteY9" fmla="*/ 2096511 h 4629046"/>
                  <a:gd name="connsiteX10" fmla="*/ 3471621 w 11804048"/>
                  <a:gd name="connsiteY10" fmla="*/ 1700387 h 4629046"/>
                  <a:gd name="connsiteX11" fmla="*/ 4040063 w 11804048"/>
                  <a:gd name="connsiteY11" fmla="*/ 1141916 h 4629046"/>
                  <a:gd name="connsiteX12" fmla="*/ 5174543 w 11804048"/>
                  <a:gd name="connsiteY12" fmla="*/ 868452 h 4629046"/>
                  <a:gd name="connsiteX13" fmla="*/ 6135560 w 11804048"/>
                  <a:gd name="connsiteY13" fmla="*/ 531133 h 4629046"/>
                  <a:gd name="connsiteX14" fmla="*/ 5983239 w 11804048"/>
                  <a:gd name="connsiteY14" fmla="*/ 398731 h 4629046"/>
                  <a:gd name="connsiteX15" fmla="*/ 5566157 w 11804048"/>
                  <a:gd name="connsiteY15" fmla="*/ 282563 h 4629046"/>
                  <a:gd name="connsiteX16" fmla="*/ 4293290 w 11804048"/>
                  <a:gd name="connsiteY16" fmla="*/ 115527 h 4629046"/>
                  <a:gd name="connsiteX17" fmla="*/ 2483701 w 11804048"/>
                  <a:gd name="connsiteY17" fmla="*/ 0 h 4629046"/>
                  <a:gd name="connsiteX18" fmla="*/ 0 w 11804048"/>
                  <a:gd name="connsiteY18" fmla="*/ 306 h 4629046"/>
                  <a:gd name="connsiteX0" fmla="*/ 11803954 w 11803954"/>
                  <a:gd name="connsiteY0" fmla="*/ 4568506 h 4629046"/>
                  <a:gd name="connsiteX1" fmla="*/ 11800968 w 11803954"/>
                  <a:gd name="connsiteY1" fmla="*/ 4629046 h 4629046"/>
                  <a:gd name="connsiteX2" fmla="*/ 9480312 w 11803954"/>
                  <a:gd name="connsiteY2" fmla="*/ 4629046 h 4629046"/>
                  <a:gd name="connsiteX3" fmla="*/ 9473653 w 11803954"/>
                  <a:gd name="connsiteY3" fmla="*/ 4206291 h 4629046"/>
                  <a:gd name="connsiteX4" fmla="*/ 9259827 w 11803954"/>
                  <a:gd name="connsiteY4" fmla="*/ 3745228 h 4629046"/>
                  <a:gd name="connsiteX5" fmla="*/ 8687061 w 11803954"/>
                  <a:gd name="connsiteY5" fmla="*/ 3346938 h 4629046"/>
                  <a:gd name="connsiteX6" fmla="*/ 6827493 w 11803954"/>
                  <a:gd name="connsiteY6" fmla="*/ 2917623 h 4629046"/>
                  <a:gd name="connsiteX7" fmla="*/ 4576790 w 11803954"/>
                  <a:gd name="connsiteY7" fmla="*/ 2417596 h 4629046"/>
                  <a:gd name="connsiteX8" fmla="*/ 3783470 w 11803954"/>
                  <a:gd name="connsiteY8" fmla="*/ 2096511 h 4629046"/>
                  <a:gd name="connsiteX9" fmla="*/ 3471621 w 11803954"/>
                  <a:gd name="connsiteY9" fmla="*/ 1700387 h 4629046"/>
                  <a:gd name="connsiteX10" fmla="*/ 4040063 w 11803954"/>
                  <a:gd name="connsiteY10" fmla="*/ 1141916 h 4629046"/>
                  <a:gd name="connsiteX11" fmla="*/ 5174543 w 11803954"/>
                  <a:gd name="connsiteY11" fmla="*/ 868452 h 4629046"/>
                  <a:gd name="connsiteX12" fmla="*/ 6135560 w 11803954"/>
                  <a:gd name="connsiteY12" fmla="*/ 531133 h 4629046"/>
                  <a:gd name="connsiteX13" fmla="*/ 5983239 w 11803954"/>
                  <a:gd name="connsiteY13" fmla="*/ 398731 h 4629046"/>
                  <a:gd name="connsiteX14" fmla="*/ 5566157 w 11803954"/>
                  <a:gd name="connsiteY14" fmla="*/ 282563 h 4629046"/>
                  <a:gd name="connsiteX15" fmla="*/ 4293290 w 11803954"/>
                  <a:gd name="connsiteY15" fmla="*/ 115527 h 4629046"/>
                  <a:gd name="connsiteX16" fmla="*/ 2483701 w 11803954"/>
                  <a:gd name="connsiteY16" fmla="*/ 0 h 4629046"/>
                  <a:gd name="connsiteX17" fmla="*/ 0 w 11803954"/>
                  <a:gd name="connsiteY17" fmla="*/ 306 h 4629046"/>
                  <a:gd name="connsiteX0" fmla="*/ 11803954 w 11803954"/>
                  <a:gd name="connsiteY0" fmla="*/ 4568506 h 4629046"/>
                  <a:gd name="connsiteX1" fmla="*/ 9480312 w 11803954"/>
                  <a:gd name="connsiteY1" fmla="*/ 4629046 h 4629046"/>
                  <a:gd name="connsiteX2" fmla="*/ 9473653 w 11803954"/>
                  <a:gd name="connsiteY2" fmla="*/ 4206291 h 4629046"/>
                  <a:gd name="connsiteX3" fmla="*/ 9259827 w 11803954"/>
                  <a:gd name="connsiteY3" fmla="*/ 3745228 h 4629046"/>
                  <a:gd name="connsiteX4" fmla="*/ 8687061 w 11803954"/>
                  <a:gd name="connsiteY4" fmla="*/ 3346938 h 4629046"/>
                  <a:gd name="connsiteX5" fmla="*/ 6827493 w 11803954"/>
                  <a:gd name="connsiteY5" fmla="*/ 2917623 h 4629046"/>
                  <a:gd name="connsiteX6" fmla="*/ 4576790 w 11803954"/>
                  <a:gd name="connsiteY6" fmla="*/ 2417596 h 4629046"/>
                  <a:gd name="connsiteX7" fmla="*/ 3783470 w 11803954"/>
                  <a:gd name="connsiteY7" fmla="*/ 2096511 h 4629046"/>
                  <a:gd name="connsiteX8" fmla="*/ 3471621 w 11803954"/>
                  <a:gd name="connsiteY8" fmla="*/ 1700387 h 4629046"/>
                  <a:gd name="connsiteX9" fmla="*/ 4040063 w 11803954"/>
                  <a:gd name="connsiteY9" fmla="*/ 1141916 h 4629046"/>
                  <a:gd name="connsiteX10" fmla="*/ 5174543 w 11803954"/>
                  <a:gd name="connsiteY10" fmla="*/ 868452 h 4629046"/>
                  <a:gd name="connsiteX11" fmla="*/ 6135560 w 11803954"/>
                  <a:gd name="connsiteY11" fmla="*/ 531133 h 4629046"/>
                  <a:gd name="connsiteX12" fmla="*/ 5983239 w 11803954"/>
                  <a:gd name="connsiteY12" fmla="*/ 398731 h 4629046"/>
                  <a:gd name="connsiteX13" fmla="*/ 5566157 w 11803954"/>
                  <a:gd name="connsiteY13" fmla="*/ 282563 h 4629046"/>
                  <a:gd name="connsiteX14" fmla="*/ 4293290 w 11803954"/>
                  <a:gd name="connsiteY14" fmla="*/ 115527 h 4629046"/>
                  <a:gd name="connsiteX15" fmla="*/ 2483701 w 11803954"/>
                  <a:gd name="connsiteY15" fmla="*/ 0 h 4629046"/>
                  <a:gd name="connsiteX16" fmla="*/ 0 w 11803954"/>
                  <a:gd name="connsiteY16" fmla="*/ 306 h 4629046"/>
                  <a:gd name="connsiteX0" fmla="*/ 9480312 w 9480312"/>
                  <a:gd name="connsiteY0" fmla="*/ 4629046 h 4629046"/>
                  <a:gd name="connsiteX1" fmla="*/ 9473653 w 9480312"/>
                  <a:gd name="connsiteY1" fmla="*/ 4206291 h 4629046"/>
                  <a:gd name="connsiteX2" fmla="*/ 9259827 w 9480312"/>
                  <a:gd name="connsiteY2" fmla="*/ 3745228 h 4629046"/>
                  <a:gd name="connsiteX3" fmla="*/ 8687061 w 9480312"/>
                  <a:gd name="connsiteY3" fmla="*/ 3346938 h 4629046"/>
                  <a:gd name="connsiteX4" fmla="*/ 6827493 w 9480312"/>
                  <a:gd name="connsiteY4" fmla="*/ 2917623 h 4629046"/>
                  <a:gd name="connsiteX5" fmla="*/ 4576790 w 9480312"/>
                  <a:gd name="connsiteY5" fmla="*/ 2417596 h 4629046"/>
                  <a:gd name="connsiteX6" fmla="*/ 3783470 w 9480312"/>
                  <a:gd name="connsiteY6" fmla="*/ 2096511 h 4629046"/>
                  <a:gd name="connsiteX7" fmla="*/ 3471621 w 9480312"/>
                  <a:gd name="connsiteY7" fmla="*/ 1700387 h 4629046"/>
                  <a:gd name="connsiteX8" fmla="*/ 4040063 w 9480312"/>
                  <a:gd name="connsiteY8" fmla="*/ 1141916 h 4629046"/>
                  <a:gd name="connsiteX9" fmla="*/ 5174543 w 9480312"/>
                  <a:gd name="connsiteY9" fmla="*/ 868452 h 4629046"/>
                  <a:gd name="connsiteX10" fmla="*/ 6135560 w 9480312"/>
                  <a:gd name="connsiteY10" fmla="*/ 531133 h 4629046"/>
                  <a:gd name="connsiteX11" fmla="*/ 5983239 w 9480312"/>
                  <a:gd name="connsiteY11" fmla="*/ 398731 h 4629046"/>
                  <a:gd name="connsiteX12" fmla="*/ 5566157 w 9480312"/>
                  <a:gd name="connsiteY12" fmla="*/ 282563 h 4629046"/>
                  <a:gd name="connsiteX13" fmla="*/ 4293290 w 9480312"/>
                  <a:gd name="connsiteY13" fmla="*/ 115527 h 4629046"/>
                  <a:gd name="connsiteX14" fmla="*/ 2483701 w 9480312"/>
                  <a:gd name="connsiteY14" fmla="*/ 0 h 4629046"/>
                  <a:gd name="connsiteX15" fmla="*/ 0 w 9480312"/>
                  <a:gd name="connsiteY15" fmla="*/ 306 h 46290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480312" h="4629046">
                    <a:moveTo>
                      <a:pt x="9480312" y="4629046"/>
                    </a:moveTo>
                    <a:lnTo>
                      <a:pt x="9473653" y="4206291"/>
                    </a:lnTo>
                    <a:cubicBezTo>
                      <a:pt x="9439537" y="4034204"/>
                      <a:pt x="9367941" y="3878713"/>
                      <a:pt x="9259827" y="3745228"/>
                    </a:cubicBezTo>
                    <a:cubicBezTo>
                      <a:pt x="9124323" y="3578192"/>
                      <a:pt x="8931639" y="3444346"/>
                      <a:pt x="8687061" y="3346938"/>
                    </a:cubicBezTo>
                    <a:cubicBezTo>
                      <a:pt x="8322835" y="3202270"/>
                      <a:pt x="7595826" y="3064095"/>
                      <a:pt x="6827493" y="2917623"/>
                    </a:cubicBezTo>
                    <a:cubicBezTo>
                      <a:pt x="6075016" y="2774036"/>
                      <a:pt x="5222113" y="2611690"/>
                      <a:pt x="4576790" y="2417596"/>
                    </a:cubicBezTo>
                    <a:cubicBezTo>
                      <a:pt x="4225538" y="2311890"/>
                      <a:pt x="3966064" y="2206907"/>
                      <a:pt x="3783470" y="2096511"/>
                    </a:cubicBezTo>
                    <a:cubicBezTo>
                      <a:pt x="3576371" y="1971325"/>
                      <a:pt x="3471621" y="1837840"/>
                      <a:pt x="3471621" y="1700387"/>
                    </a:cubicBezTo>
                    <a:cubicBezTo>
                      <a:pt x="3471621" y="1469494"/>
                      <a:pt x="3657577" y="1286945"/>
                      <a:pt x="4040063" y="1141916"/>
                    </a:cubicBezTo>
                    <a:cubicBezTo>
                      <a:pt x="4369210" y="1017089"/>
                      <a:pt x="4796863" y="938081"/>
                      <a:pt x="5174543" y="868452"/>
                    </a:cubicBezTo>
                    <a:cubicBezTo>
                      <a:pt x="5690129" y="773209"/>
                      <a:pt x="6135560" y="690954"/>
                      <a:pt x="6135560" y="531133"/>
                    </a:cubicBezTo>
                    <a:cubicBezTo>
                      <a:pt x="6135560" y="486037"/>
                      <a:pt x="6084146" y="441662"/>
                      <a:pt x="5983239" y="398731"/>
                    </a:cubicBezTo>
                    <a:cubicBezTo>
                      <a:pt x="5888099" y="358685"/>
                      <a:pt x="5747790" y="319361"/>
                      <a:pt x="5566157" y="282563"/>
                    </a:cubicBezTo>
                    <a:cubicBezTo>
                      <a:pt x="5259112" y="220871"/>
                      <a:pt x="4830979" y="164231"/>
                      <a:pt x="4293290" y="115527"/>
                    </a:cubicBezTo>
                    <a:cubicBezTo>
                      <a:pt x="3491081" y="42606"/>
                      <a:pt x="2680043" y="7803"/>
                      <a:pt x="2483701" y="0"/>
                    </a:cubicBezTo>
                    <a:lnTo>
                      <a:pt x="0" y="306"/>
                    </a:lnTo>
                  </a:path>
                </a:pathLst>
              </a:custGeom>
              <a:noFill/>
              <a:ln w="6350">
                <a:solidFill>
                  <a:schemeClr val="accent5"/>
                </a:solidFill>
              </a:ln>
              <a:effectLst/>
            </p:spPr>
            <p:txBody>
              <a:bodyPr wrap="square" anchor="ctr">
                <a:noAutofit/>
              </a:bodyPr>
              <a:lstStyle/>
              <a:p>
                <a:endParaRPr lang="en-US" sz="3266"/>
              </a:p>
            </p:txBody>
          </p:sp>
        </p:grpSp>
        <p:grpSp>
          <p:nvGrpSpPr>
            <p:cNvPr id="36" name="Gruppieren 35">
              <a:extLst>
                <a:ext uri="{FF2B5EF4-FFF2-40B4-BE49-F238E27FC236}">
                  <a16:creationId xmlns:a16="http://schemas.microsoft.com/office/drawing/2014/main" id="{A786E1CE-66EA-1830-C5D6-F5461BA60978}"/>
                </a:ext>
              </a:extLst>
            </p:cNvPr>
            <p:cNvGrpSpPr>
              <a:grpSpLocks/>
            </p:cNvGrpSpPr>
            <p:nvPr/>
          </p:nvGrpSpPr>
          <p:grpSpPr>
            <a:xfrm>
              <a:off x="-61913" y="1730810"/>
              <a:ext cx="10692479" cy="4745963"/>
              <a:chOff x="-61913" y="1730810"/>
              <a:chExt cx="10692479" cy="4745963"/>
            </a:xfrm>
          </p:grpSpPr>
          <p:sp>
            <p:nvSpPr>
              <p:cNvPr id="26" name="Freeform 3">
                <a:extLst>
                  <a:ext uri="{FF2B5EF4-FFF2-40B4-BE49-F238E27FC236}">
                    <a16:creationId xmlns:a16="http://schemas.microsoft.com/office/drawing/2014/main" id="{0B5B42D9-4587-16B9-62A9-E4E74D0CDA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39855" y="1730906"/>
                <a:ext cx="8190711" cy="4745867"/>
              </a:xfrm>
              <a:custGeom>
                <a:avLst/>
                <a:gdLst>
                  <a:gd name="T0" fmla="*/ 0 w 17184"/>
                  <a:gd name="T1" fmla="*/ 0 h 13694"/>
                  <a:gd name="T2" fmla="*/ 0 w 17184"/>
                  <a:gd name="T3" fmla="*/ 0 h 13694"/>
                  <a:gd name="T4" fmla="*/ 9269 w 17184"/>
                  <a:gd name="T5" fmla="*/ 1455 h 13694"/>
                  <a:gd name="T6" fmla="*/ 9269 w 17184"/>
                  <a:gd name="T7" fmla="*/ 1455 h 13694"/>
                  <a:gd name="T8" fmla="*/ 4878 w 17184"/>
                  <a:gd name="T9" fmla="*/ 4361 h 13694"/>
                  <a:gd name="T10" fmla="*/ 4878 w 17184"/>
                  <a:gd name="T11" fmla="*/ 4361 h 13694"/>
                  <a:gd name="T12" fmla="*/ 10208 w 17184"/>
                  <a:gd name="T13" fmla="*/ 7887 h 13694"/>
                  <a:gd name="T14" fmla="*/ 10208 w 17184"/>
                  <a:gd name="T15" fmla="*/ 7887 h 13694"/>
                  <a:gd name="T16" fmla="*/ 17183 w 17184"/>
                  <a:gd name="T17" fmla="*/ 13693 h 13694"/>
                  <a:gd name="connsiteX0" fmla="*/ 0 w 17163"/>
                  <a:gd name="connsiteY0" fmla="*/ 0 h 13323"/>
                  <a:gd name="connsiteX1" fmla="*/ 0 w 17163"/>
                  <a:gd name="connsiteY1" fmla="*/ 0 h 13323"/>
                  <a:gd name="connsiteX2" fmla="*/ 9269 w 17163"/>
                  <a:gd name="connsiteY2" fmla="*/ 1455 h 13323"/>
                  <a:gd name="connsiteX3" fmla="*/ 9269 w 17163"/>
                  <a:gd name="connsiteY3" fmla="*/ 1455 h 13323"/>
                  <a:gd name="connsiteX4" fmla="*/ 4878 w 17163"/>
                  <a:gd name="connsiteY4" fmla="*/ 4361 h 13323"/>
                  <a:gd name="connsiteX5" fmla="*/ 4878 w 17163"/>
                  <a:gd name="connsiteY5" fmla="*/ 4361 h 13323"/>
                  <a:gd name="connsiteX6" fmla="*/ 10208 w 17163"/>
                  <a:gd name="connsiteY6" fmla="*/ 7887 h 13323"/>
                  <a:gd name="connsiteX7" fmla="*/ 10208 w 17163"/>
                  <a:gd name="connsiteY7" fmla="*/ 7887 h 13323"/>
                  <a:gd name="connsiteX8" fmla="*/ 17163 w 17163"/>
                  <a:gd name="connsiteY8" fmla="*/ 13323 h 13323"/>
                  <a:gd name="connsiteX0" fmla="*/ 0 w 17183"/>
                  <a:gd name="connsiteY0" fmla="*/ 0 h 13184"/>
                  <a:gd name="connsiteX1" fmla="*/ 0 w 17183"/>
                  <a:gd name="connsiteY1" fmla="*/ 0 h 13184"/>
                  <a:gd name="connsiteX2" fmla="*/ 9269 w 17183"/>
                  <a:gd name="connsiteY2" fmla="*/ 1455 h 13184"/>
                  <a:gd name="connsiteX3" fmla="*/ 9269 w 17183"/>
                  <a:gd name="connsiteY3" fmla="*/ 1455 h 13184"/>
                  <a:gd name="connsiteX4" fmla="*/ 4878 w 17183"/>
                  <a:gd name="connsiteY4" fmla="*/ 4361 h 13184"/>
                  <a:gd name="connsiteX5" fmla="*/ 4878 w 17183"/>
                  <a:gd name="connsiteY5" fmla="*/ 4361 h 13184"/>
                  <a:gd name="connsiteX6" fmla="*/ 10208 w 17183"/>
                  <a:gd name="connsiteY6" fmla="*/ 7887 h 13184"/>
                  <a:gd name="connsiteX7" fmla="*/ 10208 w 17183"/>
                  <a:gd name="connsiteY7" fmla="*/ 7887 h 13184"/>
                  <a:gd name="connsiteX8" fmla="*/ 17183 w 17183"/>
                  <a:gd name="connsiteY8" fmla="*/ 13184 h 13184"/>
                  <a:gd name="connsiteX0" fmla="*/ 0 w 17183"/>
                  <a:gd name="connsiteY0" fmla="*/ 0 h 13184"/>
                  <a:gd name="connsiteX1" fmla="*/ 0 w 17183"/>
                  <a:gd name="connsiteY1" fmla="*/ 0 h 13184"/>
                  <a:gd name="connsiteX2" fmla="*/ 9269 w 17183"/>
                  <a:gd name="connsiteY2" fmla="*/ 1455 h 13184"/>
                  <a:gd name="connsiteX3" fmla="*/ 9269 w 17183"/>
                  <a:gd name="connsiteY3" fmla="*/ 1455 h 13184"/>
                  <a:gd name="connsiteX4" fmla="*/ 4878 w 17183"/>
                  <a:gd name="connsiteY4" fmla="*/ 4361 h 13184"/>
                  <a:gd name="connsiteX5" fmla="*/ 4878 w 17183"/>
                  <a:gd name="connsiteY5" fmla="*/ 4361 h 13184"/>
                  <a:gd name="connsiteX6" fmla="*/ 10208 w 17183"/>
                  <a:gd name="connsiteY6" fmla="*/ 7887 h 13184"/>
                  <a:gd name="connsiteX7" fmla="*/ 10208 w 17183"/>
                  <a:gd name="connsiteY7" fmla="*/ 7887 h 13184"/>
                  <a:gd name="connsiteX8" fmla="*/ 17183 w 17183"/>
                  <a:gd name="connsiteY8" fmla="*/ 13184 h 13184"/>
                  <a:gd name="connsiteX0" fmla="*/ 0 w 17044"/>
                  <a:gd name="connsiteY0" fmla="*/ 0 h 13184"/>
                  <a:gd name="connsiteX1" fmla="*/ 0 w 17044"/>
                  <a:gd name="connsiteY1" fmla="*/ 0 h 13184"/>
                  <a:gd name="connsiteX2" fmla="*/ 9269 w 17044"/>
                  <a:gd name="connsiteY2" fmla="*/ 1455 h 13184"/>
                  <a:gd name="connsiteX3" fmla="*/ 9269 w 17044"/>
                  <a:gd name="connsiteY3" fmla="*/ 1455 h 13184"/>
                  <a:gd name="connsiteX4" fmla="*/ 4878 w 17044"/>
                  <a:gd name="connsiteY4" fmla="*/ 4361 h 13184"/>
                  <a:gd name="connsiteX5" fmla="*/ 4878 w 17044"/>
                  <a:gd name="connsiteY5" fmla="*/ 4361 h 13184"/>
                  <a:gd name="connsiteX6" fmla="*/ 10208 w 17044"/>
                  <a:gd name="connsiteY6" fmla="*/ 7887 h 13184"/>
                  <a:gd name="connsiteX7" fmla="*/ 10208 w 17044"/>
                  <a:gd name="connsiteY7" fmla="*/ 7887 h 13184"/>
                  <a:gd name="connsiteX8" fmla="*/ 17044 w 17044"/>
                  <a:gd name="connsiteY8" fmla="*/ 13184 h 13184"/>
                  <a:gd name="connsiteX0" fmla="*/ 0 w 17044"/>
                  <a:gd name="connsiteY0" fmla="*/ 0 h 13184"/>
                  <a:gd name="connsiteX1" fmla="*/ 0 w 17044"/>
                  <a:gd name="connsiteY1" fmla="*/ 0 h 13184"/>
                  <a:gd name="connsiteX2" fmla="*/ 9269 w 17044"/>
                  <a:gd name="connsiteY2" fmla="*/ 1455 h 13184"/>
                  <a:gd name="connsiteX3" fmla="*/ 9269 w 17044"/>
                  <a:gd name="connsiteY3" fmla="*/ 1455 h 13184"/>
                  <a:gd name="connsiteX4" fmla="*/ 4878 w 17044"/>
                  <a:gd name="connsiteY4" fmla="*/ 4361 h 13184"/>
                  <a:gd name="connsiteX5" fmla="*/ 4878 w 17044"/>
                  <a:gd name="connsiteY5" fmla="*/ 4361 h 13184"/>
                  <a:gd name="connsiteX6" fmla="*/ 10208 w 17044"/>
                  <a:gd name="connsiteY6" fmla="*/ 7887 h 13184"/>
                  <a:gd name="connsiteX7" fmla="*/ 10218 w 17044"/>
                  <a:gd name="connsiteY7" fmla="*/ 7748 h 13184"/>
                  <a:gd name="connsiteX8" fmla="*/ 17044 w 17044"/>
                  <a:gd name="connsiteY8" fmla="*/ 13184 h 13184"/>
                  <a:gd name="connsiteX0" fmla="*/ 0 w 17044"/>
                  <a:gd name="connsiteY0" fmla="*/ 0 h 13184"/>
                  <a:gd name="connsiteX1" fmla="*/ 0 w 17044"/>
                  <a:gd name="connsiteY1" fmla="*/ 0 h 13184"/>
                  <a:gd name="connsiteX2" fmla="*/ 9269 w 17044"/>
                  <a:gd name="connsiteY2" fmla="*/ 1455 h 13184"/>
                  <a:gd name="connsiteX3" fmla="*/ 9269 w 17044"/>
                  <a:gd name="connsiteY3" fmla="*/ 1455 h 13184"/>
                  <a:gd name="connsiteX4" fmla="*/ 4878 w 17044"/>
                  <a:gd name="connsiteY4" fmla="*/ 4361 h 13184"/>
                  <a:gd name="connsiteX5" fmla="*/ 4878 w 17044"/>
                  <a:gd name="connsiteY5" fmla="*/ 4361 h 13184"/>
                  <a:gd name="connsiteX6" fmla="*/ 10208 w 17044"/>
                  <a:gd name="connsiteY6" fmla="*/ 7887 h 13184"/>
                  <a:gd name="connsiteX7" fmla="*/ 10218 w 17044"/>
                  <a:gd name="connsiteY7" fmla="*/ 7748 h 13184"/>
                  <a:gd name="connsiteX8" fmla="*/ 17044 w 17044"/>
                  <a:gd name="connsiteY8" fmla="*/ 13184 h 13184"/>
                  <a:gd name="connsiteX0" fmla="*/ 0 w 17044"/>
                  <a:gd name="connsiteY0" fmla="*/ 0 h 13184"/>
                  <a:gd name="connsiteX1" fmla="*/ 0 w 17044"/>
                  <a:gd name="connsiteY1" fmla="*/ 0 h 13184"/>
                  <a:gd name="connsiteX2" fmla="*/ 9269 w 17044"/>
                  <a:gd name="connsiteY2" fmla="*/ 1455 h 13184"/>
                  <a:gd name="connsiteX3" fmla="*/ 9269 w 17044"/>
                  <a:gd name="connsiteY3" fmla="*/ 1455 h 13184"/>
                  <a:gd name="connsiteX4" fmla="*/ 4878 w 17044"/>
                  <a:gd name="connsiteY4" fmla="*/ 4361 h 13184"/>
                  <a:gd name="connsiteX5" fmla="*/ 4878 w 17044"/>
                  <a:gd name="connsiteY5" fmla="*/ 4361 h 13184"/>
                  <a:gd name="connsiteX6" fmla="*/ 10218 w 17044"/>
                  <a:gd name="connsiteY6" fmla="*/ 7748 h 13184"/>
                  <a:gd name="connsiteX7" fmla="*/ 17044 w 17044"/>
                  <a:gd name="connsiteY7" fmla="*/ 13184 h 13184"/>
                  <a:gd name="connsiteX0" fmla="*/ 0 w 17044"/>
                  <a:gd name="connsiteY0" fmla="*/ 0 h 13184"/>
                  <a:gd name="connsiteX1" fmla="*/ 0 w 17044"/>
                  <a:gd name="connsiteY1" fmla="*/ 0 h 13184"/>
                  <a:gd name="connsiteX2" fmla="*/ 9269 w 17044"/>
                  <a:gd name="connsiteY2" fmla="*/ 1455 h 13184"/>
                  <a:gd name="connsiteX3" fmla="*/ 9269 w 17044"/>
                  <a:gd name="connsiteY3" fmla="*/ 1455 h 13184"/>
                  <a:gd name="connsiteX4" fmla="*/ 4878 w 17044"/>
                  <a:gd name="connsiteY4" fmla="*/ 4361 h 13184"/>
                  <a:gd name="connsiteX5" fmla="*/ 4878 w 17044"/>
                  <a:gd name="connsiteY5" fmla="*/ 4361 h 13184"/>
                  <a:gd name="connsiteX6" fmla="*/ 10218 w 17044"/>
                  <a:gd name="connsiteY6" fmla="*/ 7748 h 13184"/>
                  <a:gd name="connsiteX7" fmla="*/ 17044 w 17044"/>
                  <a:gd name="connsiteY7" fmla="*/ 13184 h 13184"/>
                  <a:gd name="connsiteX0" fmla="*/ 0 w 17044"/>
                  <a:gd name="connsiteY0" fmla="*/ 0 h 13184"/>
                  <a:gd name="connsiteX1" fmla="*/ 0 w 17044"/>
                  <a:gd name="connsiteY1" fmla="*/ 0 h 13184"/>
                  <a:gd name="connsiteX2" fmla="*/ 9269 w 17044"/>
                  <a:gd name="connsiteY2" fmla="*/ 1455 h 13184"/>
                  <a:gd name="connsiteX3" fmla="*/ 9269 w 17044"/>
                  <a:gd name="connsiteY3" fmla="*/ 1455 h 13184"/>
                  <a:gd name="connsiteX4" fmla="*/ 4878 w 17044"/>
                  <a:gd name="connsiteY4" fmla="*/ 4361 h 13184"/>
                  <a:gd name="connsiteX5" fmla="*/ 5165 w 17044"/>
                  <a:gd name="connsiteY5" fmla="*/ 5962 h 13184"/>
                  <a:gd name="connsiteX6" fmla="*/ 10218 w 17044"/>
                  <a:gd name="connsiteY6" fmla="*/ 7748 h 13184"/>
                  <a:gd name="connsiteX7" fmla="*/ 17044 w 17044"/>
                  <a:gd name="connsiteY7" fmla="*/ 13184 h 13184"/>
                  <a:gd name="connsiteX0" fmla="*/ 0 w 17044"/>
                  <a:gd name="connsiteY0" fmla="*/ 0 h 13184"/>
                  <a:gd name="connsiteX1" fmla="*/ 0 w 17044"/>
                  <a:gd name="connsiteY1" fmla="*/ 0 h 13184"/>
                  <a:gd name="connsiteX2" fmla="*/ 9269 w 17044"/>
                  <a:gd name="connsiteY2" fmla="*/ 1455 h 13184"/>
                  <a:gd name="connsiteX3" fmla="*/ 9269 w 17044"/>
                  <a:gd name="connsiteY3" fmla="*/ 1455 h 13184"/>
                  <a:gd name="connsiteX4" fmla="*/ 4878 w 17044"/>
                  <a:gd name="connsiteY4" fmla="*/ 4361 h 13184"/>
                  <a:gd name="connsiteX5" fmla="*/ 10218 w 17044"/>
                  <a:gd name="connsiteY5" fmla="*/ 7748 h 13184"/>
                  <a:gd name="connsiteX6" fmla="*/ 17044 w 17044"/>
                  <a:gd name="connsiteY6" fmla="*/ 13184 h 13184"/>
                  <a:gd name="connsiteX0" fmla="*/ 0 w 17044"/>
                  <a:gd name="connsiteY0" fmla="*/ 0 h 13184"/>
                  <a:gd name="connsiteX1" fmla="*/ 0 w 17044"/>
                  <a:gd name="connsiteY1" fmla="*/ 0 h 13184"/>
                  <a:gd name="connsiteX2" fmla="*/ 9269 w 17044"/>
                  <a:gd name="connsiteY2" fmla="*/ 1455 h 13184"/>
                  <a:gd name="connsiteX3" fmla="*/ 9269 w 17044"/>
                  <a:gd name="connsiteY3" fmla="*/ 1455 h 13184"/>
                  <a:gd name="connsiteX4" fmla="*/ 4878 w 17044"/>
                  <a:gd name="connsiteY4" fmla="*/ 4361 h 13184"/>
                  <a:gd name="connsiteX5" fmla="*/ 10218 w 17044"/>
                  <a:gd name="connsiteY5" fmla="*/ 7748 h 13184"/>
                  <a:gd name="connsiteX6" fmla="*/ 17044 w 17044"/>
                  <a:gd name="connsiteY6" fmla="*/ 13184 h 13184"/>
                  <a:gd name="connsiteX0" fmla="*/ 0 w 17044"/>
                  <a:gd name="connsiteY0" fmla="*/ 0 h 13184"/>
                  <a:gd name="connsiteX1" fmla="*/ 0 w 17044"/>
                  <a:gd name="connsiteY1" fmla="*/ 0 h 13184"/>
                  <a:gd name="connsiteX2" fmla="*/ 9269 w 17044"/>
                  <a:gd name="connsiteY2" fmla="*/ 1455 h 13184"/>
                  <a:gd name="connsiteX3" fmla="*/ 9269 w 17044"/>
                  <a:gd name="connsiteY3" fmla="*/ 1455 h 13184"/>
                  <a:gd name="connsiteX4" fmla="*/ 4878 w 17044"/>
                  <a:gd name="connsiteY4" fmla="*/ 4361 h 13184"/>
                  <a:gd name="connsiteX5" fmla="*/ 10218 w 17044"/>
                  <a:gd name="connsiteY5" fmla="*/ 7748 h 13184"/>
                  <a:gd name="connsiteX6" fmla="*/ 17044 w 17044"/>
                  <a:gd name="connsiteY6" fmla="*/ 13184 h 13184"/>
                  <a:gd name="connsiteX0" fmla="*/ 0 w 17044"/>
                  <a:gd name="connsiteY0" fmla="*/ 0 h 13184"/>
                  <a:gd name="connsiteX1" fmla="*/ 0 w 17044"/>
                  <a:gd name="connsiteY1" fmla="*/ 0 h 13184"/>
                  <a:gd name="connsiteX2" fmla="*/ 9269 w 17044"/>
                  <a:gd name="connsiteY2" fmla="*/ 1455 h 13184"/>
                  <a:gd name="connsiteX3" fmla="*/ 9269 w 17044"/>
                  <a:gd name="connsiteY3" fmla="*/ 1455 h 13184"/>
                  <a:gd name="connsiteX4" fmla="*/ 4878 w 17044"/>
                  <a:gd name="connsiteY4" fmla="*/ 4361 h 13184"/>
                  <a:gd name="connsiteX5" fmla="*/ 10218 w 17044"/>
                  <a:gd name="connsiteY5" fmla="*/ 7748 h 13184"/>
                  <a:gd name="connsiteX6" fmla="*/ 17044 w 17044"/>
                  <a:gd name="connsiteY6" fmla="*/ 13184 h 13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044" h="13184"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0"/>
                      <a:pt x="7668" y="142"/>
                      <a:pt x="9269" y="1455"/>
                    </a:cubicBezTo>
                    <a:lnTo>
                      <a:pt x="9269" y="1455"/>
                    </a:lnTo>
                    <a:cubicBezTo>
                      <a:pt x="10869" y="2767"/>
                      <a:pt x="6836" y="3122"/>
                      <a:pt x="4878" y="4361"/>
                    </a:cubicBezTo>
                    <a:cubicBezTo>
                      <a:pt x="2350" y="6085"/>
                      <a:pt x="8022" y="7085"/>
                      <a:pt x="10218" y="7748"/>
                    </a:cubicBezTo>
                    <a:cubicBezTo>
                      <a:pt x="16212" y="9335"/>
                      <a:pt x="17004" y="10667"/>
                      <a:pt x="17044" y="13184"/>
                    </a:cubicBezTo>
                  </a:path>
                </a:pathLst>
              </a:custGeom>
              <a:noFill/>
              <a:ln w="38100" cap="flat">
                <a:solidFill>
                  <a:srgbClr val="FFFFFF"/>
                </a:solidFill>
                <a:prstDash val="dash"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3266"/>
              </a:p>
            </p:txBody>
          </p:sp>
          <p:cxnSp>
            <p:nvCxnSpPr>
              <p:cNvPr id="27" name="Straight Connector 9">
                <a:extLst>
                  <a:ext uri="{FF2B5EF4-FFF2-40B4-BE49-F238E27FC236}">
                    <a16:creationId xmlns:a16="http://schemas.microsoft.com/office/drawing/2014/main" id="{2B56483F-1384-9685-ED99-D68B025B071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-61913" y="1730810"/>
                <a:ext cx="2376409" cy="1684"/>
              </a:xfrm>
              <a:prstGeom prst="line">
                <a:avLst/>
              </a:prstGeom>
              <a:ln w="38100">
                <a:solidFill>
                  <a:schemeClr val="bg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9" name="Rectangle 3">
            <a:extLst>
              <a:ext uri="{FF2B5EF4-FFF2-40B4-BE49-F238E27FC236}">
                <a16:creationId xmlns:a16="http://schemas.microsoft.com/office/drawing/2014/main" id="{2274751C-DAE5-0331-2C5E-6835E6F33523}"/>
              </a:ext>
            </a:extLst>
          </p:cNvPr>
          <p:cNvSpPr>
            <a:spLocks/>
          </p:cNvSpPr>
          <p:nvPr/>
        </p:nvSpPr>
        <p:spPr bwMode="gray">
          <a:xfrm flipH="1">
            <a:off x="8303072" y="1664392"/>
            <a:ext cx="2017287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 dirty="0">
                <a:solidFill>
                  <a:schemeClr val="tx2"/>
                </a:solidFill>
              </a:rPr>
              <a:t>{bullet_1}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</a:rPr>
              <a:t>{bullet_1_content}</a:t>
            </a:r>
          </a:p>
        </p:txBody>
      </p:sp>
      <p:sp>
        <p:nvSpPr>
          <p:cNvPr id="40" name="Rectangle 3">
            <a:extLst>
              <a:ext uri="{FF2B5EF4-FFF2-40B4-BE49-F238E27FC236}">
                <a16:creationId xmlns:a16="http://schemas.microsoft.com/office/drawing/2014/main" id="{9600CF76-E65D-E11C-D356-84A0400C0CC5}"/>
              </a:ext>
            </a:extLst>
          </p:cNvPr>
          <p:cNvSpPr>
            <a:spLocks/>
          </p:cNvSpPr>
          <p:nvPr/>
        </p:nvSpPr>
        <p:spPr bwMode="gray">
          <a:xfrm flipH="1">
            <a:off x="1249896" y="2774380"/>
            <a:ext cx="2017287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algn="r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 dirty="0">
                <a:solidFill>
                  <a:schemeClr val="tx2"/>
                </a:solidFill>
              </a:rPr>
              <a:t>{bullet_2}</a:t>
            </a:r>
          </a:p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</a:rPr>
              <a:t>{bullet_2_content}</a:t>
            </a:r>
          </a:p>
        </p:txBody>
      </p:sp>
      <p:sp>
        <p:nvSpPr>
          <p:cNvPr id="41" name="Rectangle 3">
            <a:extLst>
              <a:ext uri="{FF2B5EF4-FFF2-40B4-BE49-F238E27FC236}">
                <a16:creationId xmlns:a16="http://schemas.microsoft.com/office/drawing/2014/main" id="{08A6C0F6-2E8D-42EB-1D24-4C9FEE7C8507}"/>
              </a:ext>
            </a:extLst>
          </p:cNvPr>
          <p:cNvSpPr>
            <a:spLocks/>
          </p:cNvSpPr>
          <p:nvPr/>
        </p:nvSpPr>
        <p:spPr bwMode="gray">
          <a:xfrm flipH="1">
            <a:off x="3476259" y="4732700"/>
            <a:ext cx="2017287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algn="r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 dirty="0">
                <a:solidFill>
                  <a:schemeClr val="tx2"/>
                </a:solidFill>
              </a:rPr>
              <a:t>{bullet_3}</a:t>
            </a:r>
          </a:p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</a:rPr>
              <a:t>{bullet_3_content}</a:t>
            </a:r>
          </a:p>
        </p:txBody>
      </p:sp>
      <p:sp>
        <p:nvSpPr>
          <p:cNvPr id="42" name="Rectangle 3">
            <a:extLst>
              <a:ext uri="{FF2B5EF4-FFF2-40B4-BE49-F238E27FC236}">
                <a16:creationId xmlns:a16="http://schemas.microsoft.com/office/drawing/2014/main" id="{5E5901B4-F183-5724-1A9F-3F056B2BE092}"/>
              </a:ext>
            </a:extLst>
          </p:cNvPr>
          <p:cNvSpPr>
            <a:spLocks/>
          </p:cNvSpPr>
          <p:nvPr/>
        </p:nvSpPr>
        <p:spPr bwMode="gray">
          <a:xfrm flipH="1">
            <a:off x="6535210" y="5268873"/>
            <a:ext cx="2017287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R="0" lvl="0" algn="r" fontAlgn="auto">
              <a:lnSpc>
                <a:spcPct val="100000"/>
              </a:lnSpc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en-US" sz="2000" dirty="0">
                <a:solidFill>
                  <a:schemeClr val="tx2"/>
                </a:solidFill>
              </a:rPr>
              <a:t>{bullet_4}</a:t>
            </a:r>
          </a:p>
          <a:p>
            <a: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</a:rPr>
              <a:t>{bullet_4_content}</a:t>
            </a:r>
          </a:p>
        </p:txBody>
      </p:sp>
      <p:sp>
        <p:nvSpPr>
          <p:cNvPr id="43" name="Freeform 30">
            <a:extLst>
              <a:ext uri="{FF2B5EF4-FFF2-40B4-BE49-F238E27FC236}">
                <a16:creationId xmlns:a16="http://schemas.microsoft.com/office/drawing/2014/main" id="{4180BA48-018C-3264-F627-22A52E0EA87D}"/>
              </a:ext>
            </a:extLst>
          </p:cNvPr>
          <p:cNvSpPr>
            <a:spLocks/>
          </p:cNvSpPr>
          <p:nvPr/>
        </p:nvSpPr>
        <p:spPr bwMode="auto">
          <a:xfrm>
            <a:off x="5647828" y="3439573"/>
            <a:ext cx="646330" cy="1051490"/>
          </a:xfrm>
          <a:custGeom>
            <a:avLst/>
            <a:gdLst>
              <a:gd name="T0" fmla="*/ 590 w 1181"/>
              <a:gd name="T1" fmla="*/ 933 h 1922"/>
              <a:gd name="T2" fmla="*/ 590 w 1181"/>
              <a:gd name="T3" fmla="*/ 933 h 1922"/>
              <a:gd name="T4" fmla="*/ 289 w 1181"/>
              <a:gd name="T5" fmla="*/ 632 h 1922"/>
              <a:gd name="T6" fmla="*/ 289 w 1181"/>
              <a:gd name="T7" fmla="*/ 632 h 1922"/>
              <a:gd name="T8" fmla="*/ 590 w 1181"/>
              <a:gd name="T9" fmla="*/ 331 h 1922"/>
              <a:gd name="T10" fmla="*/ 590 w 1181"/>
              <a:gd name="T11" fmla="*/ 331 h 1922"/>
              <a:gd name="T12" fmla="*/ 891 w 1181"/>
              <a:gd name="T13" fmla="*/ 632 h 1922"/>
              <a:gd name="T14" fmla="*/ 891 w 1181"/>
              <a:gd name="T15" fmla="*/ 632 h 1922"/>
              <a:gd name="T16" fmla="*/ 590 w 1181"/>
              <a:gd name="T17" fmla="*/ 933 h 1922"/>
              <a:gd name="T18" fmla="*/ 590 w 1181"/>
              <a:gd name="T19" fmla="*/ 0 h 1922"/>
              <a:gd name="T20" fmla="*/ 590 w 1181"/>
              <a:gd name="T21" fmla="*/ 0 h 1922"/>
              <a:gd name="T22" fmla="*/ 0 w 1181"/>
              <a:gd name="T23" fmla="*/ 589 h 1922"/>
              <a:gd name="T24" fmla="*/ 0 w 1181"/>
              <a:gd name="T25" fmla="*/ 589 h 1922"/>
              <a:gd name="T26" fmla="*/ 590 w 1181"/>
              <a:gd name="T27" fmla="*/ 1921 h 1922"/>
              <a:gd name="T28" fmla="*/ 590 w 1181"/>
              <a:gd name="T29" fmla="*/ 1921 h 1922"/>
              <a:gd name="T30" fmla="*/ 1180 w 1181"/>
              <a:gd name="T31" fmla="*/ 589 h 1922"/>
              <a:gd name="T32" fmla="*/ 1180 w 1181"/>
              <a:gd name="T33" fmla="*/ 589 h 1922"/>
              <a:gd name="T34" fmla="*/ 590 w 1181"/>
              <a:gd name="T35" fmla="*/ 0 h 19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181" h="1922">
                <a:moveTo>
                  <a:pt x="590" y="933"/>
                </a:moveTo>
                <a:lnTo>
                  <a:pt x="590" y="933"/>
                </a:lnTo>
                <a:cubicBezTo>
                  <a:pt x="424" y="933"/>
                  <a:pt x="289" y="798"/>
                  <a:pt x="289" y="632"/>
                </a:cubicBezTo>
                <a:lnTo>
                  <a:pt x="289" y="632"/>
                </a:lnTo>
                <a:cubicBezTo>
                  <a:pt x="289" y="466"/>
                  <a:pt x="424" y="331"/>
                  <a:pt x="590" y="331"/>
                </a:cubicBezTo>
                <a:lnTo>
                  <a:pt x="590" y="331"/>
                </a:lnTo>
                <a:cubicBezTo>
                  <a:pt x="756" y="331"/>
                  <a:pt x="891" y="466"/>
                  <a:pt x="891" y="632"/>
                </a:cubicBezTo>
                <a:lnTo>
                  <a:pt x="891" y="632"/>
                </a:lnTo>
                <a:cubicBezTo>
                  <a:pt x="891" y="798"/>
                  <a:pt x="756" y="933"/>
                  <a:pt x="590" y="933"/>
                </a:cubicBezTo>
                <a:close/>
                <a:moveTo>
                  <a:pt x="590" y="0"/>
                </a:moveTo>
                <a:lnTo>
                  <a:pt x="590" y="0"/>
                </a:lnTo>
                <a:cubicBezTo>
                  <a:pt x="265" y="0"/>
                  <a:pt x="0" y="263"/>
                  <a:pt x="0" y="589"/>
                </a:cubicBezTo>
                <a:lnTo>
                  <a:pt x="0" y="589"/>
                </a:lnTo>
                <a:cubicBezTo>
                  <a:pt x="0" y="915"/>
                  <a:pt x="590" y="1921"/>
                  <a:pt x="590" y="1921"/>
                </a:cubicBezTo>
                <a:lnTo>
                  <a:pt x="590" y="1921"/>
                </a:lnTo>
                <a:cubicBezTo>
                  <a:pt x="590" y="1921"/>
                  <a:pt x="1180" y="915"/>
                  <a:pt x="1180" y="589"/>
                </a:cubicBezTo>
                <a:lnTo>
                  <a:pt x="1180" y="589"/>
                </a:lnTo>
                <a:cubicBezTo>
                  <a:pt x="1180" y="263"/>
                  <a:pt x="915" y="0"/>
                  <a:pt x="590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6"/>
          </a:p>
        </p:txBody>
      </p:sp>
      <p:sp>
        <p:nvSpPr>
          <p:cNvPr id="44" name="Freeform 31">
            <a:extLst>
              <a:ext uri="{FF2B5EF4-FFF2-40B4-BE49-F238E27FC236}">
                <a16:creationId xmlns:a16="http://schemas.microsoft.com/office/drawing/2014/main" id="{3E2AE27B-5AC8-6353-9FE4-D340CA3121CC}"/>
              </a:ext>
            </a:extLst>
          </p:cNvPr>
          <p:cNvSpPr>
            <a:spLocks/>
          </p:cNvSpPr>
          <p:nvPr/>
        </p:nvSpPr>
        <p:spPr bwMode="auto">
          <a:xfrm>
            <a:off x="3675963" y="2617967"/>
            <a:ext cx="646330" cy="1051490"/>
          </a:xfrm>
          <a:custGeom>
            <a:avLst/>
            <a:gdLst>
              <a:gd name="T0" fmla="*/ 589 w 1180"/>
              <a:gd name="T1" fmla="*/ 932 h 1922"/>
              <a:gd name="T2" fmla="*/ 589 w 1180"/>
              <a:gd name="T3" fmla="*/ 932 h 1922"/>
              <a:gd name="T4" fmla="*/ 288 w 1180"/>
              <a:gd name="T5" fmla="*/ 631 h 1922"/>
              <a:gd name="T6" fmla="*/ 288 w 1180"/>
              <a:gd name="T7" fmla="*/ 631 h 1922"/>
              <a:gd name="T8" fmla="*/ 589 w 1180"/>
              <a:gd name="T9" fmla="*/ 332 h 1922"/>
              <a:gd name="T10" fmla="*/ 589 w 1180"/>
              <a:gd name="T11" fmla="*/ 332 h 1922"/>
              <a:gd name="T12" fmla="*/ 890 w 1180"/>
              <a:gd name="T13" fmla="*/ 631 h 1922"/>
              <a:gd name="T14" fmla="*/ 890 w 1180"/>
              <a:gd name="T15" fmla="*/ 631 h 1922"/>
              <a:gd name="T16" fmla="*/ 589 w 1180"/>
              <a:gd name="T17" fmla="*/ 932 h 1922"/>
              <a:gd name="T18" fmla="*/ 589 w 1180"/>
              <a:gd name="T19" fmla="*/ 0 h 1922"/>
              <a:gd name="T20" fmla="*/ 589 w 1180"/>
              <a:gd name="T21" fmla="*/ 0 h 1922"/>
              <a:gd name="T22" fmla="*/ 0 w 1180"/>
              <a:gd name="T23" fmla="*/ 589 h 1922"/>
              <a:gd name="T24" fmla="*/ 0 w 1180"/>
              <a:gd name="T25" fmla="*/ 589 h 1922"/>
              <a:gd name="T26" fmla="*/ 589 w 1180"/>
              <a:gd name="T27" fmla="*/ 1921 h 1922"/>
              <a:gd name="T28" fmla="*/ 589 w 1180"/>
              <a:gd name="T29" fmla="*/ 1921 h 1922"/>
              <a:gd name="T30" fmla="*/ 1179 w 1180"/>
              <a:gd name="T31" fmla="*/ 589 h 1922"/>
              <a:gd name="T32" fmla="*/ 1179 w 1180"/>
              <a:gd name="T33" fmla="*/ 589 h 1922"/>
              <a:gd name="T34" fmla="*/ 589 w 1180"/>
              <a:gd name="T35" fmla="*/ 0 h 19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180" h="1922">
                <a:moveTo>
                  <a:pt x="589" y="932"/>
                </a:moveTo>
                <a:lnTo>
                  <a:pt x="589" y="932"/>
                </a:lnTo>
                <a:cubicBezTo>
                  <a:pt x="423" y="932"/>
                  <a:pt x="288" y="797"/>
                  <a:pt x="288" y="631"/>
                </a:cubicBezTo>
                <a:lnTo>
                  <a:pt x="288" y="631"/>
                </a:lnTo>
                <a:cubicBezTo>
                  <a:pt x="288" y="466"/>
                  <a:pt x="423" y="332"/>
                  <a:pt x="589" y="332"/>
                </a:cubicBezTo>
                <a:lnTo>
                  <a:pt x="589" y="332"/>
                </a:lnTo>
                <a:cubicBezTo>
                  <a:pt x="756" y="332"/>
                  <a:pt x="890" y="466"/>
                  <a:pt x="890" y="631"/>
                </a:cubicBezTo>
                <a:lnTo>
                  <a:pt x="890" y="631"/>
                </a:lnTo>
                <a:cubicBezTo>
                  <a:pt x="890" y="797"/>
                  <a:pt x="756" y="932"/>
                  <a:pt x="589" y="932"/>
                </a:cubicBezTo>
                <a:close/>
                <a:moveTo>
                  <a:pt x="589" y="0"/>
                </a:moveTo>
                <a:lnTo>
                  <a:pt x="589" y="0"/>
                </a:lnTo>
                <a:cubicBezTo>
                  <a:pt x="264" y="0"/>
                  <a:pt x="0" y="264"/>
                  <a:pt x="0" y="589"/>
                </a:cubicBezTo>
                <a:lnTo>
                  <a:pt x="0" y="589"/>
                </a:lnTo>
                <a:cubicBezTo>
                  <a:pt x="0" y="914"/>
                  <a:pt x="589" y="1921"/>
                  <a:pt x="589" y="1921"/>
                </a:cubicBezTo>
                <a:lnTo>
                  <a:pt x="589" y="1921"/>
                </a:lnTo>
                <a:cubicBezTo>
                  <a:pt x="589" y="1921"/>
                  <a:pt x="1179" y="914"/>
                  <a:pt x="1179" y="589"/>
                </a:cubicBezTo>
                <a:lnTo>
                  <a:pt x="1179" y="589"/>
                </a:lnTo>
                <a:cubicBezTo>
                  <a:pt x="1179" y="264"/>
                  <a:pt x="915" y="0"/>
                  <a:pt x="589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6"/>
          </a:p>
        </p:txBody>
      </p:sp>
      <p:sp>
        <p:nvSpPr>
          <p:cNvPr id="45" name="Freeform 32">
            <a:extLst>
              <a:ext uri="{FF2B5EF4-FFF2-40B4-BE49-F238E27FC236}">
                <a16:creationId xmlns:a16="http://schemas.microsoft.com/office/drawing/2014/main" id="{0E8BB308-EB34-C968-8F04-0C5868F13845}"/>
              </a:ext>
            </a:extLst>
          </p:cNvPr>
          <p:cNvSpPr>
            <a:spLocks/>
          </p:cNvSpPr>
          <p:nvPr/>
        </p:nvSpPr>
        <p:spPr bwMode="auto">
          <a:xfrm>
            <a:off x="8821520" y="4205544"/>
            <a:ext cx="646330" cy="1051490"/>
          </a:xfrm>
          <a:custGeom>
            <a:avLst/>
            <a:gdLst>
              <a:gd name="T0" fmla="*/ 590 w 1181"/>
              <a:gd name="T1" fmla="*/ 934 h 1923"/>
              <a:gd name="T2" fmla="*/ 590 w 1181"/>
              <a:gd name="T3" fmla="*/ 934 h 1923"/>
              <a:gd name="T4" fmla="*/ 289 w 1181"/>
              <a:gd name="T5" fmla="*/ 633 h 1923"/>
              <a:gd name="T6" fmla="*/ 289 w 1181"/>
              <a:gd name="T7" fmla="*/ 633 h 1923"/>
              <a:gd name="T8" fmla="*/ 590 w 1181"/>
              <a:gd name="T9" fmla="*/ 332 h 1923"/>
              <a:gd name="T10" fmla="*/ 590 w 1181"/>
              <a:gd name="T11" fmla="*/ 332 h 1923"/>
              <a:gd name="T12" fmla="*/ 891 w 1181"/>
              <a:gd name="T13" fmla="*/ 633 h 1923"/>
              <a:gd name="T14" fmla="*/ 891 w 1181"/>
              <a:gd name="T15" fmla="*/ 633 h 1923"/>
              <a:gd name="T16" fmla="*/ 590 w 1181"/>
              <a:gd name="T17" fmla="*/ 934 h 1923"/>
              <a:gd name="T18" fmla="*/ 590 w 1181"/>
              <a:gd name="T19" fmla="*/ 0 h 1923"/>
              <a:gd name="T20" fmla="*/ 590 w 1181"/>
              <a:gd name="T21" fmla="*/ 0 h 1923"/>
              <a:gd name="T22" fmla="*/ 0 w 1181"/>
              <a:gd name="T23" fmla="*/ 590 h 1923"/>
              <a:gd name="T24" fmla="*/ 0 w 1181"/>
              <a:gd name="T25" fmla="*/ 590 h 1923"/>
              <a:gd name="T26" fmla="*/ 590 w 1181"/>
              <a:gd name="T27" fmla="*/ 1922 h 1923"/>
              <a:gd name="T28" fmla="*/ 590 w 1181"/>
              <a:gd name="T29" fmla="*/ 1922 h 1923"/>
              <a:gd name="T30" fmla="*/ 1180 w 1181"/>
              <a:gd name="T31" fmla="*/ 590 h 1923"/>
              <a:gd name="T32" fmla="*/ 1180 w 1181"/>
              <a:gd name="T33" fmla="*/ 590 h 1923"/>
              <a:gd name="T34" fmla="*/ 590 w 1181"/>
              <a:gd name="T35" fmla="*/ 0 h 19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181" h="1923">
                <a:moveTo>
                  <a:pt x="590" y="934"/>
                </a:moveTo>
                <a:lnTo>
                  <a:pt x="590" y="934"/>
                </a:lnTo>
                <a:cubicBezTo>
                  <a:pt x="424" y="934"/>
                  <a:pt x="289" y="799"/>
                  <a:pt x="289" y="633"/>
                </a:cubicBezTo>
                <a:lnTo>
                  <a:pt x="289" y="633"/>
                </a:lnTo>
                <a:cubicBezTo>
                  <a:pt x="289" y="467"/>
                  <a:pt x="424" y="332"/>
                  <a:pt x="590" y="332"/>
                </a:cubicBezTo>
                <a:lnTo>
                  <a:pt x="590" y="332"/>
                </a:lnTo>
                <a:cubicBezTo>
                  <a:pt x="756" y="332"/>
                  <a:pt x="891" y="467"/>
                  <a:pt x="891" y="633"/>
                </a:cubicBezTo>
                <a:lnTo>
                  <a:pt x="891" y="633"/>
                </a:lnTo>
                <a:cubicBezTo>
                  <a:pt x="891" y="799"/>
                  <a:pt x="756" y="934"/>
                  <a:pt x="590" y="934"/>
                </a:cubicBezTo>
                <a:close/>
                <a:moveTo>
                  <a:pt x="590" y="0"/>
                </a:moveTo>
                <a:lnTo>
                  <a:pt x="590" y="0"/>
                </a:lnTo>
                <a:cubicBezTo>
                  <a:pt x="265" y="0"/>
                  <a:pt x="0" y="265"/>
                  <a:pt x="0" y="590"/>
                </a:cubicBezTo>
                <a:lnTo>
                  <a:pt x="0" y="590"/>
                </a:lnTo>
                <a:cubicBezTo>
                  <a:pt x="0" y="915"/>
                  <a:pt x="590" y="1922"/>
                  <a:pt x="590" y="1922"/>
                </a:cubicBezTo>
                <a:lnTo>
                  <a:pt x="590" y="1922"/>
                </a:lnTo>
                <a:cubicBezTo>
                  <a:pt x="590" y="1922"/>
                  <a:pt x="1180" y="915"/>
                  <a:pt x="1180" y="590"/>
                </a:cubicBezTo>
                <a:lnTo>
                  <a:pt x="1180" y="590"/>
                </a:lnTo>
                <a:cubicBezTo>
                  <a:pt x="1180" y="265"/>
                  <a:pt x="915" y="0"/>
                  <a:pt x="590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6"/>
          </a:p>
        </p:txBody>
      </p:sp>
      <p:sp>
        <p:nvSpPr>
          <p:cNvPr id="46" name="Freeform 32">
            <a:extLst>
              <a:ext uri="{FF2B5EF4-FFF2-40B4-BE49-F238E27FC236}">
                <a16:creationId xmlns:a16="http://schemas.microsoft.com/office/drawing/2014/main" id="{E34E9FBF-3516-AE7C-F2B5-E16AEEBF7C8C}"/>
              </a:ext>
            </a:extLst>
          </p:cNvPr>
          <p:cNvSpPr>
            <a:spLocks/>
          </p:cNvSpPr>
          <p:nvPr/>
        </p:nvSpPr>
        <p:spPr bwMode="auto">
          <a:xfrm>
            <a:off x="7265200" y="1573263"/>
            <a:ext cx="646330" cy="1051490"/>
          </a:xfrm>
          <a:custGeom>
            <a:avLst/>
            <a:gdLst>
              <a:gd name="T0" fmla="*/ 590 w 1181"/>
              <a:gd name="T1" fmla="*/ 934 h 1923"/>
              <a:gd name="T2" fmla="*/ 590 w 1181"/>
              <a:gd name="T3" fmla="*/ 934 h 1923"/>
              <a:gd name="T4" fmla="*/ 289 w 1181"/>
              <a:gd name="T5" fmla="*/ 633 h 1923"/>
              <a:gd name="T6" fmla="*/ 289 w 1181"/>
              <a:gd name="T7" fmla="*/ 633 h 1923"/>
              <a:gd name="T8" fmla="*/ 590 w 1181"/>
              <a:gd name="T9" fmla="*/ 332 h 1923"/>
              <a:gd name="T10" fmla="*/ 590 w 1181"/>
              <a:gd name="T11" fmla="*/ 332 h 1923"/>
              <a:gd name="T12" fmla="*/ 891 w 1181"/>
              <a:gd name="T13" fmla="*/ 633 h 1923"/>
              <a:gd name="T14" fmla="*/ 891 w 1181"/>
              <a:gd name="T15" fmla="*/ 633 h 1923"/>
              <a:gd name="T16" fmla="*/ 590 w 1181"/>
              <a:gd name="T17" fmla="*/ 934 h 1923"/>
              <a:gd name="T18" fmla="*/ 590 w 1181"/>
              <a:gd name="T19" fmla="*/ 0 h 1923"/>
              <a:gd name="T20" fmla="*/ 590 w 1181"/>
              <a:gd name="T21" fmla="*/ 0 h 1923"/>
              <a:gd name="T22" fmla="*/ 0 w 1181"/>
              <a:gd name="T23" fmla="*/ 590 h 1923"/>
              <a:gd name="T24" fmla="*/ 0 w 1181"/>
              <a:gd name="T25" fmla="*/ 590 h 1923"/>
              <a:gd name="T26" fmla="*/ 590 w 1181"/>
              <a:gd name="T27" fmla="*/ 1922 h 1923"/>
              <a:gd name="T28" fmla="*/ 590 w 1181"/>
              <a:gd name="T29" fmla="*/ 1922 h 1923"/>
              <a:gd name="T30" fmla="*/ 1180 w 1181"/>
              <a:gd name="T31" fmla="*/ 590 h 1923"/>
              <a:gd name="T32" fmla="*/ 1180 w 1181"/>
              <a:gd name="T33" fmla="*/ 590 h 1923"/>
              <a:gd name="T34" fmla="*/ 590 w 1181"/>
              <a:gd name="T35" fmla="*/ 0 h 19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181" h="1923">
                <a:moveTo>
                  <a:pt x="590" y="934"/>
                </a:moveTo>
                <a:lnTo>
                  <a:pt x="590" y="934"/>
                </a:lnTo>
                <a:cubicBezTo>
                  <a:pt x="424" y="934"/>
                  <a:pt x="289" y="799"/>
                  <a:pt x="289" y="633"/>
                </a:cubicBezTo>
                <a:lnTo>
                  <a:pt x="289" y="633"/>
                </a:lnTo>
                <a:cubicBezTo>
                  <a:pt x="289" y="467"/>
                  <a:pt x="424" y="332"/>
                  <a:pt x="590" y="332"/>
                </a:cubicBezTo>
                <a:lnTo>
                  <a:pt x="590" y="332"/>
                </a:lnTo>
                <a:cubicBezTo>
                  <a:pt x="756" y="332"/>
                  <a:pt x="891" y="467"/>
                  <a:pt x="891" y="633"/>
                </a:cubicBezTo>
                <a:lnTo>
                  <a:pt x="891" y="633"/>
                </a:lnTo>
                <a:cubicBezTo>
                  <a:pt x="891" y="799"/>
                  <a:pt x="756" y="934"/>
                  <a:pt x="590" y="934"/>
                </a:cubicBezTo>
                <a:close/>
                <a:moveTo>
                  <a:pt x="590" y="0"/>
                </a:moveTo>
                <a:lnTo>
                  <a:pt x="590" y="0"/>
                </a:lnTo>
                <a:cubicBezTo>
                  <a:pt x="265" y="0"/>
                  <a:pt x="0" y="265"/>
                  <a:pt x="0" y="590"/>
                </a:cubicBezTo>
                <a:lnTo>
                  <a:pt x="0" y="590"/>
                </a:lnTo>
                <a:cubicBezTo>
                  <a:pt x="0" y="915"/>
                  <a:pt x="590" y="1922"/>
                  <a:pt x="590" y="1922"/>
                </a:cubicBezTo>
                <a:lnTo>
                  <a:pt x="590" y="1922"/>
                </a:lnTo>
                <a:cubicBezTo>
                  <a:pt x="590" y="1922"/>
                  <a:pt x="1180" y="915"/>
                  <a:pt x="1180" y="590"/>
                </a:cubicBezTo>
                <a:lnTo>
                  <a:pt x="1180" y="590"/>
                </a:lnTo>
                <a:cubicBezTo>
                  <a:pt x="1180" y="265"/>
                  <a:pt x="915" y="0"/>
                  <a:pt x="59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6"/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63F876F0-2A7E-1A1C-ABF1-975620D03579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54130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timeline, timelines, milestone, milestones, maps, roadmap, roadmaps</a:t>
            </a:r>
          </a:p>
        </p:txBody>
      </p:sp>
    </p:spTree>
    <p:extLst>
      <p:ext uri="{BB962C8B-B14F-4D97-AF65-F5344CB8AC3E}">
        <p14:creationId xmlns:p14="http://schemas.microsoft.com/office/powerpoint/2010/main" val="37119693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527</Words>
  <Application>Microsoft Office PowerPoint</Application>
  <PresentationFormat>宽屏</PresentationFormat>
  <Paragraphs>5375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9-15T01:33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